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698" r:id="rId5"/>
  </p:sldMasterIdLst>
  <p:notesMasterIdLst>
    <p:notesMasterId r:id="rId36"/>
  </p:notesMasterIdLst>
  <p:handoutMasterIdLst>
    <p:handoutMasterId r:id="rId37"/>
  </p:handoutMasterIdLst>
  <p:sldIdLst>
    <p:sldId id="296" r:id="rId6"/>
    <p:sldId id="540" r:id="rId7"/>
    <p:sldId id="424" r:id="rId8"/>
    <p:sldId id="531" r:id="rId9"/>
    <p:sldId id="481" r:id="rId10"/>
    <p:sldId id="483" r:id="rId11"/>
    <p:sldId id="559" r:id="rId12"/>
    <p:sldId id="563" r:id="rId13"/>
    <p:sldId id="564" r:id="rId14"/>
    <p:sldId id="560" r:id="rId15"/>
    <p:sldId id="561" r:id="rId16"/>
    <p:sldId id="562" r:id="rId17"/>
    <p:sldId id="570" r:id="rId18"/>
    <p:sldId id="457" r:id="rId19"/>
    <p:sldId id="554" r:id="rId20"/>
    <p:sldId id="565" r:id="rId21"/>
    <p:sldId id="547" r:id="rId22"/>
    <p:sldId id="566" r:id="rId23"/>
    <p:sldId id="567" r:id="rId24"/>
    <p:sldId id="473" r:id="rId25"/>
    <p:sldId id="556" r:id="rId26"/>
    <p:sldId id="526" r:id="rId27"/>
    <p:sldId id="489" r:id="rId28"/>
    <p:sldId id="557" r:id="rId29"/>
    <p:sldId id="568" r:id="rId30"/>
    <p:sldId id="569" r:id="rId31"/>
    <p:sldId id="476" r:id="rId32"/>
    <p:sldId id="558" r:id="rId33"/>
    <p:sldId id="480" r:id="rId34"/>
    <p:sldId id="466" r:id="rId35"/>
  </p:sldIdLst>
  <p:sldSz cx="9144000" cy="6858000" type="screen4x3"/>
  <p:notesSz cx="7104063" cy="10234613"/>
  <p:custDataLst>
    <p:tags r:id="rId38"/>
  </p:custDataLst>
  <p:defaultTextStyle>
    <a:defPPr>
      <a:defRPr lang="fr-FR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3" userDrawn="1">
          <p15:clr>
            <a:srgbClr val="A4A3A4"/>
          </p15:clr>
        </p15:guide>
        <p15:guide id="2" pos="223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hilippe CERISIER" initials="PC" lastIdx="0" clrIdx="0">
    <p:extLst>
      <p:ext uri="{19B8F6BF-5375-455C-9EA6-DF929625EA0E}">
        <p15:presenceInfo xmlns:p15="http://schemas.microsoft.com/office/powerpoint/2012/main" userId="S::philippe.cerisier@klesia.fr::243b6f8e-f1ab-49a6-91db-d0e885322b2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A879"/>
    <a:srgbClr val="FCCBCE"/>
    <a:srgbClr val="E41B09"/>
    <a:srgbClr val="E4523B"/>
    <a:srgbClr val="FA7D7D"/>
    <a:srgbClr val="F78909"/>
    <a:srgbClr val="481B04"/>
    <a:srgbClr val="4A280C"/>
    <a:srgbClr val="F75A22"/>
    <a:srgbClr val="8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C7CBF56-A94E-4C0A-A6DD-C409E05746CB}" v="1959" dt="2021-10-21T16:17:44.13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348" autoAdjust="0"/>
    <p:restoredTop sz="99600" autoAdjust="0"/>
  </p:normalViewPr>
  <p:slideViewPr>
    <p:cSldViewPr snapToGrid="0">
      <p:cViewPr varScale="1">
        <p:scale>
          <a:sx n="114" d="100"/>
          <a:sy n="114" d="100"/>
        </p:scale>
        <p:origin x="1656" y="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61" d="100"/>
          <a:sy n="61" d="100"/>
        </p:scale>
        <p:origin x="-3274" y="-101"/>
      </p:cViewPr>
      <p:guideLst>
        <p:guide orient="horz" pos="3223"/>
        <p:guide pos="223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commentAuthors" Target="commentAuthors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theme" Target="theme/theme1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handoutMaster" Target="handoutMasters/handoutMaster1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tableStyles" Target="tableStyle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/>
              <a:t>Evolution des Adhérent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>
        <c:manualLayout>
          <c:layoutTarget val="inner"/>
          <c:xMode val="edge"/>
          <c:yMode val="edge"/>
          <c:x val="0.13868407279127037"/>
          <c:y val="0.17754153512433096"/>
          <c:w val="0.83483348381755895"/>
          <c:h val="0.6575206231424007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Badminto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Feuil1!$A$2:$A$10</c:f>
              <c:strCache>
                <c:ptCount val="5"/>
                <c:pt idx="0">
                  <c:v>2017-2018</c:v>
                </c:pt>
                <c:pt idx="1">
                  <c:v>2018-2019</c:v>
                </c:pt>
                <c:pt idx="2">
                  <c:v>2019-2020</c:v>
                </c:pt>
                <c:pt idx="3">
                  <c:v>2020-2021</c:v>
                </c:pt>
                <c:pt idx="4">
                  <c:v>2021-2022</c:v>
                </c:pt>
              </c:strCache>
              <c:extLst/>
            </c:strRef>
          </c:cat>
          <c:val>
            <c:numRef>
              <c:f>Feuil1!$B$2:$B$10</c:f>
              <c:numCache>
                <c:formatCode>General</c:formatCode>
                <c:ptCount val="5"/>
                <c:pt idx="0">
                  <c:v>208</c:v>
                </c:pt>
                <c:pt idx="1">
                  <c:v>225</c:v>
                </c:pt>
                <c:pt idx="2">
                  <c:v>218</c:v>
                </c:pt>
                <c:pt idx="3">
                  <c:v>152</c:v>
                </c:pt>
                <c:pt idx="4">
                  <c:v>217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8FCE-4AD1-A66A-F0FCE27B3782}"/>
            </c:ext>
          </c:extLst>
        </c:ser>
        <c:ser>
          <c:idx val="1"/>
          <c:order val="1"/>
          <c:tx>
            <c:v>Gymnastique masculine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Feuil1!$A$2:$A$10</c:f>
              <c:strCache>
                <c:ptCount val="5"/>
                <c:pt idx="0">
                  <c:v>2017-2018</c:v>
                </c:pt>
                <c:pt idx="1">
                  <c:v>2018-2019</c:v>
                </c:pt>
                <c:pt idx="2">
                  <c:v>2019-2020</c:v>
                </c:pt>
                <c:pt idx="3">
                  <c:v>2020-2021</c:v>
                </c:pt>
                <c:pt idx="4">
                  <c:v>2021-2022</c:v>
                </c:pt>
              </c:strCache>
              <c:extLst/>
            </c:strRef>
          </c:cat>
          <c:val>
            <c:numRef>
              <c:f>Feuil1!$C$2:$C$10</c:f>
              <c:numCache>
                <c:formatCode>General</c:formatCode>
                <c:ptCount val="5"/>
                <c:pt idx="0">
                  <c:v>80</c:v>
                </c:pt>
                <c:pt idx="1">
                  <c:v>85</c:v>
                </c:pt>
                <c:pt idx="2">
                  <c:v>44</c:v>
                </c:pt>
                <c:pt idx="3">
                  <c:v>50</c:v>
                </c:pt>
                <c:pt idx="4">
                  <c:v>55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8FCE-4AD1-A66A-F0FCE27B378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9"/>
        <c:overlap val="100"/>
        <c:axId val="316200416"/>
        <c:axId val="316201248"/>
        <c:extLst>
          <c:ext xmlns:c15="http://schemas.microsoft.com/office/drawing/2012/chart" uri="{02D57815-91ED-43cb-92C2-25804820EDAC}">
            <c15:filteredBarSeries>
              <c15:ser>
                <c:idx val="2"/>
                <c:order val="2"/>
                <c:tx>
                  <c:strRef>
                    <c:extLst>
                      <c:ext uri="{02D57815-91ED-43cb-92C2-25804820EDAC}">
                        <c15:formulaRef>
                          <c15:sqref>Feuil1!$D$1</c15:sqref>
                        </c15:formulaRef>
                      </c:ext>
                    </c:extLst>
                    <c:strCache>
                      <c:ptCount val="1"/>
                      <c:pt idx="0">
                        <c:v>Trampoline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97" b="0" i="0" u="none" strike="noStrike" kern="1200" baseline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fr-FR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Feuil1!$A$2:$A$10</c15:sqref>
                        </c15:formulaRef>
                      </c:ext>
                    </c:extLst>
                    <c:strCache>
                      <c:ptCount val="5"/>
                      <c:pt idx="0">
                        <c:v>2017-2018</c:v>
                      </c:pt>
                      <c:pt idx="1">
                        <c:v>2018-2019</c:v>
                      </c:pt>
                      <c:pt idx="2">
                        <c:v>2019-2020</c:v>
                      </c:pt>
                      <c:pt idx="3">
                        <c:v>2020-2021</c:v>
                      </c:pt>
                      <c:pt idx="4">
                        <c:v>2021-2022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Feuil1!$D$2:$D$10</c15:sqref>
                        </c15:formulaRef>
                      </c:ext>
                    </c:extLst>
                    <c:numCache>
                      <c:formatCode>General</c:formatCode>
                      <c:ptCount val="5"/>
                      <c:pt idx="0">
                        <c:v>0</c:v>
                      </c:pt>
                      <c:pt idx="1">
                        <c:v>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8FCE-4AD1-A66A-F0FCE27B3782}"/>
                  </c:ext>
                </c:extLst>
              </c15:ser>
            </c15:filteredBarSeries>
          </c:ext>
        </c:extLst>
      </c:barChart>
      <c:catAx>
        <c:axId val="31620041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64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316201248"/>
        <c:crosses val="autoZero"/>
        <c:auto val="1"/>
        <c:lblAlgn val="ctr"/>
        <c:lblOffset val="100"/>
        <c:noMultiLvlLbl val="0"/>
      </c:catAx>
      <c:valAx>
        <c:axId val="31620124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16200416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>
            <a:solidFill>
              <a:schemeClr val="tx1">
                <a:lumMod val="15000"/>
                <a:lumOff val="85000"/>
              </a:schemeClr>
            </a:solidFill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</c:dTable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6845254431236121"/>
          <c:y val="9.0107145120531765E-2"/>
          <c:w val="0.42834606402545394"/>
          <c:h val="4.500171250725953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 dirty="0"/>
              <a:t>Dépenses 2020 / 2021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2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Budget 20/2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>
              <a:outerShdw blurRad="254000" sx="102000" sy="102000" algn="ctr" rotWithShape="0">
                <a:prstClr val="black">
                  <a:alpha val="20000"/>
                </a:prst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2-171F-4EBD-9EF2-53919333141C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8-171F-4EBD-9EF2-53919333141C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171F-4EBD-9EF2-53919333141C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6-171F-4EBD-9EF2-53919333141C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171F-4EBD-9EF2-53919333141C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4-171F-4EBD-9EF2-53919333141C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171F-4EBD-9EF2-53919333141C}"/>
              </c:ext>
            </c:extLst>
          </c:dPt>
          <c:cat>
            <c:strRef>
              <c:f>Feuil1!$A$2:$A$8</c:f>
              <c:strCache>
                <c:ptCount val="7"/>
                <c:pt idx="0">
                  <c:v>Frais d'encadrement</c:v>
                </c:pt>
                <c:pt idx="1">
                  <c:v>Matériels et autres</c:v>
                </c:pt>
                <c:pt idx="2">
                  <c:v>Affiliations et licences</c:v>
                </c:pt>
                <c:pt idx="3">
                  <c:v>Engagements compétitions</c:v>
                </c:pt>
                <c:pt idx="4">
                  <c:v>Frais Administratifs</c:v>
                </c:pt>
                <c:pt idx="5">
                  <c:v>Dépenses diverses</c:v>
                </c:pt>
                <c:pt idx="6">
                  <c:v>Provisions Adhésions 21/22</c:v>
                </c:pt>
              </c:strCache>
            </c:strRef>
          </c:cat>
          <c:val>
            <c:numRef>
              <c:f>Feuil1!$B$2:$B$8</c:f>
              <c:numCache>
                <c:formatCode>#\ ##0\ "€"</c:formatCode>
                <c:ptCount val="7"/>
                <c:pt idx="0">
                  <c:v>49330</c:v>
                </c:pt>
                <c:pt idx="1">
                  <c:v>5600</c:v>
                </c:pt>
                <c:pt idx="2">
                  <c:v>10900</c:v>
                </c:pt>
                <c:pt idx="3">
                  <c:v>600</c:v>
                </c:pt>
                <c:pt idx="4">
                  <c:v>2260</c:v>
                </c:pt>
                <c:pt idx="5">
                  <c:v>166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71F-4EBD-9EF2-53919333141C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Réalisée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>
              <a:outerShdw blurRad="254000" sx="102000" sy="102000" algn="ctr" rotWithShape="0">
                <a:prstClr val="black">
                  <a:alpha val="20000"/>
                </a:prstClr>
              </a:outerShdw>
            </a:effectLst>
          </c:spPr>
          <c:invertIfNegative val="0"/>
          <c:cat>
            <c:strRef>
              <c:f>Feuil1!$A$2:$A$8</c:f>
              <c:strCache>
                <c:ptCount val="7"/>
                <c:pt idx="0">
                  <c:v>Frais d'encadrement</c:v>
                </c:pt>
                <c:pt idx="1">
                  <c:v>Matériels et autres</c:v>
                </c:pt>
                <c:pt idx="2">
                  <c:v>Affiliations et licences</c:v>
                </c:pt>
                <c:pt idx="3">
                  <c:v>Engagements compétitions</c:v>
                </c:pt>
                <c:pt idx="4">
                  <c:v>Frais Administratifs</c:v>
                </c:pt>
                <c:pt idx="5">
                  <c:v>Dépenses diverses</c:v>
                </c:pt>
                <c:pt idx="6">
                  <c:v>Provisions Adhésions 21/22</c:v>
                </c:pt>
              </c:strCache>
            </c:strRef>
          </c:cat>
          <c:val>
            <c:numRef>
              <c:f>Feuil1!$C$2:$C$8</c:f>
              <c:numCache>
                <c:formatCode>#\ ##0\ "€"</c:formatCode>
                <c:ptCount val="7"/>
                <c:pt idx="0">
                  <c:v>39961</c:v>
                </c:pt>
                <c:pt idx="1">
                  <c:v>3060</c:v>
                </c:pt>
                <c:pt idx="2">
                  <c:v>10335</c:v>
                </c:pt>
                <c:pt idx="3">
                  <c:v>285</c:v>
                </c:pt>
                <c:pt idx="4">
                  <c:v>2148</c:v>
                </c:pt>
                <c:pt idx="5">
                  <c:v>2834</c:v>
                </c:pt>
                <c:pt idx="6">
                  <c:v>9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C5A2-4F6D-AE47-03CFBA871A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2101276864"/>
        <c:axId val="2101281024"/>
      </c:barChart>
      <c:catAx>
        <c:axId val="21012768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2101281024"/>
        <c:crosses val="autoZero"/>
        <c:auto val="1"/>
        <c:lblAlgn val="ctr"/>
        <c:lblOffset val="100"/>
        <c:noMultiLvlLbl val="0"/>
      </c:catAx>
      <c:valAx>
        <c:axId val="2101281024"/>
        <c:scaling>
          <c:orientation val="minMax"/>
        </c:scaling>
        <c:delete val="0"/>
        <c:axPos val="l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#\ ##0\ &quot;€&quot;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2101276864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>
            <a:solidFill>
              <a:schemeClr val="dk1">
                <a:lumMod val="35000"/>
                <a:lumOff val="65000"/>
              </a:schemeClr>
            </a:solidFill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197" b="0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</c:dTable>
      <c:spPr>
        <a:noFill/>
        <a:ln>
          <a:noFill/>
        </a:ln>
        <a:effectLst/>
      </c:spPr>
    </c:plotArea>
    <c:legend>
      <c:legendPos val="r"/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Dépenses 2020 / 2021 </a:t>
            </a:r>
          </a:p>
        </c:rich>
      </c:tx>
      <c:layout>
        <c:manualLayout>
          <c:xMode val="edge"/>
          <c:yMode val="edge"/>
          <c:x val="0.39060507816312201"/>
          <c:y val="2.272727272727272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2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Dépens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2-171F-4EBD-9EF2-53919333141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8-171F-4EBD-9EF2-53919333141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171F-4EBD-9EF2-53919333141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6-171F-4EBD-9EF2-53919333141C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171F-4EBD-9EF2-53919333141C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4-171F-4EBD-9EF2-53919333141C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171F-4EBD-9EF2-53919333141C}"/>
              </c:ext>
            </c:extLst>
          </c:dPt>
          <c:dLbls>
            <c:dLbl>
              <c:idx val="2"/>
              <c:layout>
                <c:manualLayout>
                  <c:x val="2.998605373039101E-2"/>
                  <c:y val="7.3232323232323135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171F-4EBD-9EF2-53919333141C}"/>
                </c:ext>
              </c:extLst>
            </c:dLbl>
            <c:dLbl>
              <c:idx val="3"/>
              <c:layout>
                <c:manualLayout>
                  <c:x val="0"/>
                  <c:y val="9.0909090909090912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171F-4EBD-9EF2-53919333141C}"/>
                </c:ext>
              </c:extLst>
            </c:dLbl>
            <c:dLbl>
              <c:idx val="4"/>
              <c:layout>
                <c:manualLayout>
                  <c:x val="0"/>
                  <c:y val="-7.575757575757576E-3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71F-4EBD-9EF2-53919333141C}"/>
                </c:ext>
              </c:extLst>
            </c:dLbl>
            <c:dLbl>
              <c:idx val="5"/>
              <c:layout>
                <c:manualLayout>
                  <c:x val="1.6658918739106117E-3"/>
                  <c:y val="-8.3333333333333329E-2"/>
                </c:manualLayout>
              </c:layout>
              <c:spPr>
                <a:pattFill prst="pct75">
                  <a:fgClr>
                    <a:prstClr val="black">
                      <a:lumMod val="75000"/>
                      <a:lumOff val="25000"/>
                    </a:prstClr>
                  </a:fgClr>
                  <a:bgClr>
                    <a:prstClr val="black">
                      <a:lumMod val="65000"/>
                      <a:lumOff val="35000"/>
                    </a:prstClr>
                  </a:bgClr>
                </a:patt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baseline="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47237"/>
                        <a:gd name="adj2" fmla="val 124151"/>
                      </a:avLst>
                    </a:prstGeom>
                    <a:pattFill prst="pct75">
                      <a:fgClr>
                        <a:schemeClr val="dk1">
                          <a:lumMod val="75000"/>
                          <a:lumOff val="25000"/>
                        </a:schemeClr>
                      </a:fgClr>
                      <a:bgClr>
                        <a:schemeClr val="dk1">
                          <a:lumMod val="65000"/>
                          <a:lumOff val="35000"/>
                        </a:schemeClr>
                      </a:bgClr>
                    </a:pattFill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4-171F-4EBD-9EF2-53919333141C}"/>
                </c:ext>
              </c:extLst>
            </c:dLbl>
            <c:dLbl>
              <c:idx val="6"/>
              <c:layout>
                <c:manualLayout>
                  <c:x val="7.1633350578156299E-2"/>
                  <c:y val="-2.7777777777777783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71F-4EBD-9EF2-53919333141C}"/>
                </c:ext>
              </c:extLst>
            </c:dLbl>
            <c:spPr>
              <a:pattFill prst="pct75">
                <a:fgClr>
                  <a:prstClr val="black">
                    <a:lumMod val="75000"/>
                    <a:lumOff val="25000"/>
                  </a:prstClr>
                </a:fgClr>
                <a:bgClr>
                  <a:prstClr val="black">
                    <a:lumMod val="65000"/>
                    <a:lumOff val="35000"/>
                  </a:prst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33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pattFill prst="pct75">
                    <a:fgClr>
                      <a:schemeClr val="dk1">
                        <a:lumMod val="75000"/>
                        <a:lumOff val="25000"/>
                      </a:schemeClr>
                    </a:fgClr>
                    <a:bgClr>
                      <a:schemeClr val="dk1">
                        <a:lumMod val="65000"/>
                        <a:lumOff val="35000"/>
                      </a:schemeClr>
                    </a:bgClr>
                  </a:pattFill>
                  <a:ln>
                    <a:noFill/>
                  </a:ln>
                </c15:spPr>
              </c:ext>
            </c:extLst>
          </c:dLbls>
          <c:cat>
            <c:strRef>
              <c:f>Feuil1!$A$2:$A$8</c:f>
              <c:strCache>
                <c:ptCount val="7"/>
                <c:pt idx="0">
                  <c:v>Frais d'encadrement</c:v>
                </c:pt>
                <c:pt idx="1">
                  <c:v>Matériels et autres</c:v>
                </c:pt>
                <c:pt idx="2">
                  <c:v>Affiliations et licences</c:v>
                </c:pt>
                <c:pt idx="3">
                  <c:v>Engagements compétitions</c:v>
                </c:pt>
                <c:pt idx="4">
                  <c:v>Frais Administratifs</c:v>
                </c:pt>
                <c:pt idx="5">
                  <c:v>Dépenses diverses</c:v>
                </c:pt>
                <c:pt idx="6">
                  <c:v>Provisions Adhésions 21/22</c:v>
                </c:pt>
              </c:strCache>
            </c:strRef>
          </c:cat>
          <c:val>
            <c:numRef>
              <c:f>Feuil1!$B$2:$B$8</c:f>
              <c:numCache>
                <c:formatCode>#\ ##0\ _€</c:formatCode>
                <c:ptCount val="7"/>
                <c:pt idx="0">
                  <c:v>39961</c:v>
                </c:pt>
                <c:pt idx="1">
                  <c:v>3060</c:v>
                </c:pt>
                <c:pt idx="2">
                  <c:v>10335</c:v>
                </c:pt>
                <c:pt idx="3">
                  <c:v>285</c:v>
                </c:pt>
                <c:pt idx="4">
                  <c:v>2148</c:v>
                </c:pt>
                <c:pt idx="5">
                  <c:v>2834</c:v>
                </c:pt>
                <c:pt idx="6">
                  <c:v>9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71F-4EBD-9EF2-53919333141C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2990121130015129"/>
          <c:y val="0.14470631511970092"/>
          <c:w val="0.25510576183465322"/>
          <c:h val="0.36173626024019723"/>
        </c:manualLayout>
      </c:layout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 dirty="0"/>
              <a:t>Recettes 2020 / 2021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2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>
        <c:manualLayout>
          <c:layoutTarget val="inner"/>
          <c:xMode val="edge"/>
          <c:yMode val="edge"/>
          <c:x val="0.16397268776831353"/>
          <c:y val="0.11656585540443808"/>
          <c:w val="0.66372516509381985"/>
          <c:h val="0.6177559055118110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Budget 20/2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>
              <a:outerShdw blurRad="254000" sx="102000" sy="102000" algn="ctr" rotWithShape="0">
                <a:prstClr val="black">
                  <a:alpha val="20000"/>
                </a:prst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2-171F-4EBD-9EF2-53919333141C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8-171F-4EBD-9EF2-53919333141C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171F-4EBD-9EF2-53919333141C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6-171F-4EBD-9EF2-53919333141C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171F-4EBD-9EF2-53919333141C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4-171F-4EBD-9EF2-53919333141C}"/>
              </c:ext>
            </c:extLst>
          </c:dPt>
          <c:cat>
            <c:strRef>
              <c:f>Feuil1!$A$2:$A$8</c:f>
              <c:strCache>
                <c:ptCount val="6"/>
                <c:pt idx="0">
                  <c:v>Cotisations</c:v>
                </c:pt>
                <c:pt idx="1">
                  <c:v>Subvention Municipale</c:v>
                </c:pt>
                <c:pt idx="2">
                  <c:v>Subvention départementale</c:v>
                </c:pt>
                <c:pt idx="3">
                  <c:v>Recettes diverses</c:v>
                </c:pt>
                <c:pt idx="4">
                  <c:v>Sponsoring La Résidence</c:v>
                </c:pt>
                <c:pt idx="5">
                  <c:v>Indemnisation chômage partiel</c:v>
                </c:pt>
              </c:strCache>
              <c:extLst/>
            </c:strRef>
          </c:cat>
          <c:val>
            <c:numRef>
              <c:f>Feuil1!$B$2:$B$8</c:f>
              <c:numCache>
                <c:formatCode>#\ ##0\ "€"</c:formatCode>
                <c:ptCount val="6"/>
                <c:pt idx="0">
                  <c:v>44500</c:v>
                </c:pt>
                <c:pt idx="1">
                  <c:v>14000</c:v>
                </c:pt>
                <c:pt idx="2">
                  <c:v>1200</c:v>
                </c:pt>
                <c:pt idx="3">
                  <c:v>3650</c:v>
                </c:pt>
                <c:pt idx="4">
                  <c:v>2000</c:v>
                </c:pt>
                <c:pt idx="5">
                  <c:v>5000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171F-4EBD-9EF2-53919333141C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Réalisée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>
              <a:outerShdw blurRad="254000" sx="102000" sy="102000" algn="ctr" rotWithShape="0">
                <a:prstClr val="black">
                  <a:alpha val="20000"/>
                </a:prstClr>
              </a:outerShdw>
            </a:effectLst>
          </c:spPr>
          <c:invertIfNegative val="0"/>
          <c:cat>
            <c:strRef>
              <c:f>Feuil1!$A$2:$A$8</c:f>
              <c:strCache>
                <c:ptCount val="6"/>
                <c:pt idx="0">
                  <c:v>Cotisations</c:v>
                </c:pt>
                <c:pt idx="1">
                  <c:v>Subvention Municipale</c:v>
                </c:pt>
                <c:pt idx="2">
                  <c:v>Subvention départementale</c:v>
                </c:pt>
                <c:pt idx="3">
                  <c:v>Recettes diverses</c:v>
                </c:pt>
                <c:pt idx="4">
                  <c:v>Sponsoring La Résidence</c:v>
                </c:pt>
                <c:pt idx="5">
                  <c:v>Indemnisation chômage partiel</c:v>
                </c:pt>
              </c:strCache>
              <c:extLst/>
            </c:strRef>
          </c:cat>
          <c:val>
            <c:numRef>
              <c:f>Feuil1!$C$2:$C$8</c:f>
              <c:numCache>
                <c:formatCode>#\ ##0\ "€"</c:formatCode>
                <c:ptCount val="6"/>
                <c:pt idx="0">
                  <c:v>38291</c:v>
                </c:pt>
                <c:pt idx="1">
                  <c:v>14500</c:v>
                </c:pt>
                <c:pt idx="2">
                  <c:v>1200</c:v>
                </c:pt>
                <c:pt idx="3">
                  <c:v>569</c:v>
                </c:pt>
                <c:pt idx="4">
                  <c:v>2000</c:v>
                </c:pt>
                <c:pt idx="5">
                  <c:v>11321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11-C5A2-4F6D-AE47-03CFBA871A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2101276864"/>
        <c:axId val="2101281024"/>
      </c:barChart>
      <c:catAx>
        <c:axId val="21012768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2101281024"/>
        <c:crosses val="autoZero"/>
        <c:auto val="1"/>
        <c:lblAlgn val="ctr"/>
        <c:lblOffset val="100"/>
        <c:noMultiLvlLbl val="0"/>
      </c:catAx>
      <c:valAx>
        <c:axId val="2101281024"/>
        <c:scaling>
          <c:orientation val="minMax"/>
        </c:scaling>
        <c:delete val="0"/>
        <c:axPos val="l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#\ ##0\ &quot;€&quot;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2101276864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>
            <a:solidFill>
              <a:schemeClr val="dk1">
                <a:lumMod val="35000"/>
                <a:lumOff val="65000"/>
              </a:schemeClr>
            </a:solidFill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197" b="0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</c:dTable>
      <c:spPr>
        <a:noFill/>
        <a:ln>
          <a:noFill/>
        </a:ln>
        <a:effectLst/>
      </c:spPr>
    </c:plotArea>
    <c:legend>
      <c:legendPos val="r"/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Recettes 2020 / 2021</a:t>
            </a:r>
          </a:p>
        </c:rich>
      </c:tx>
      <c:layout>
        <c:manualLayout>
          <c:xMode val="edge"/>
          <c:yMode val="edge"/>
          <c:x val="0.39669331456974999"/>
          <c:y val="3.619528811449339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2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>
        <c:manualLayout>
          <c:layoutTarget val="inner"/>
          <c:xMode val="edge"/>
          <c:yMode val="edge"/>
          <c:x val="0.12297421942573085"/>
          <c:y val="0.17498056284528027"/>
          <c:w val="0.48617978650564447"/>
          <c:h val="0.74620984983040461"/>
        </c:manualLayout>
      </c:layout>
      <c:pie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Recett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2-171F-4EBD-9EF2-53919333141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8-171F-4EBD-9EF2-53919333141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171F-4EBD-9EF2-53919333141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6-171F-4EBD-9EF2-53919333141C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171F-4EBD-9EF2-53919333141C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4-171F-4EBD-9EF2-53919333141C}"/>
              </c:ext>
            </c:extLst>
          </c:dPt>
          <c:dLbls>
            <c:dLbl>
              <c:idx val="1"/>
              <c:layout>
                <c:manualLayout>
                  <c:x val="-2.5606398764851913E-3"/>
                  <c:y val="9.5735112051491933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171F-4EBD-9EF2-53919333141C}"/>
                </c:ext>
              </c:extLst>
            </c:dLbl>
            <c:dLbl>
              <c:idx val="2"/>
              <c:layout>
                <c:manualLayout>
                  <c:x val="0"/>
                  <c:y val="0.12626262626262616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171F-4EBD-9EF2-53919333141C}"/>
                </c:ext>
              </c:extLst>
            </c:dLbl>
            <c:dLbl>
              <c:idx val="3"/>
              <c:layout>
                <c:manualLayout>
                  <c:x val="1.6658918739106117E-3"/>
                  <c:y val="5.0505050505050041E-3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171F-4EBD-9EF2-53919333141C}"/>
                </c:ext>
              </c:extLst>
            </c:dLbl>
            <c:dLbl>
              <c:idx val="4"/>
              <c:layout>
                <c:manualLayout>
                  <c:x val="2.998605373039101E-2"/>
                  <c:y val="-0.1262626262626263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71F-4EBD-9EF2-53919333141C}"/>
                </c:ext>
              </c:extLst>
            </c:dLbl>
            <c:dLbl>
              <c:idx val="5"/>
              <c:layout>
                <c:manualLayout>
                  <c:x val="0.10161940430854731"/>
                  <c:y val="-7.2573769187942422E-2"/>
                </c:manualLayout>
              </c:layout>
              <c:spPr>
                <a:pattFill prst="pct75">
                  <a:fgClr>
                    <a:prstClr val="black">
                      <a:lumMod val="75000"/>
                      <a:lumOff val="25000"/>
                    </a:prstClr>
                  </a:fgClr>
                  <a:bgClr>
                    <a:prstClr val="black">
                      <a:lumMod val="65000"/>
                      <a:lumOff val="35000"/>
                    </a:prstClr>
                  </a:bgClr>
                </a:patt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baseline="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47237"/>
                        <a:gd name="adj2" fmla="val 124151"/>
                      </a:avLst>
                    </a:prstGeom>
                    <a:pattFill prst="pct75">
                      <a:fgClr>
                        <a:schemeClr val="dk1">
                          <a:lumMod val="75000"/>
                          <a:lumOff val="25000"/>
                        </a:schemeClr>
                      </a:fgClr>
                      <a:bgClr>
                        <a:schemeClr val="dk1">
                          <a:lumMod val="65000"/>
                          <a:lumOff val="35000"/>
                        </a:schemeClr>
                      </a:bgClr>
                    </a:pattFill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4-171F-4EBD-9EF2-53919333141C}"/>
                </c:ext>
              </c:extLst>
            </c:dLbl>
            <c:spPr>
              <a:pattFill prst="pct75">
                <a:fgClr>
                  <a:prstClr val="black">
                    <a:lumMod val="75000"/>
                    <a:lumOff val="25000"/>
                  </a:prstClr>
                </a:fgClr>
                <a:bgClr>
                  <a:prstClr val="black">
                    <a:lumMod val="65000"/>
                    <a:lumOff val="35000"/>
                  </a:prst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33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pattFill prst="pct75">
                    <a:fgClr>
                      <a:schemeClr val="dk1">
                        <a:lumMod val="75000"/>
                        <a:lumOff val="25000"/>
                      </a:schemeClr>
                    </a:fgClr>
                    <a:bgClr>
                      <a:schemeClr val="dk1">
                        <a:lumMod val="65000"/>
                        <a:lumOff val="35000"/>
                      </a:schemeClr>
                    </a:bgClr>
                  </a:pattFill>
                  <a:ln>
                    <a:noFill/>
                  </a:ln>
                </c15:spPr>
              </c:ext>
            </c:extLst>
          </c:dLbls>
          <c:cat>
            <c:strRef>
              <c:f>Feuil1!$A$2:$A$8</c:f>
              <c:strCache>
                <c:ptCount val="6"/>
                <c:pt idx="0">
                  <c:v>Cotisations</c:v>
                </c:pt>
                <c:pt idx="1">
                  <c:v>Subvention municipale</c:v>
                </c:pt>
                <c:pt idx="2">
                  <c:v>Subvention départementale</c:v>
                </c:pt>
                <c:pt idx="3">
                  <c:v>Recettes divrerses</c:v>
                </c:pt>
                <c:pt idx="4">
                  <c:v>Sponsoring La Résidence</c:v>
                </c:pt>
                <c:pt idx="5">
                  <c:v>Idemnisation chômage partiel</c:v>
                </c:pt>
              </c:strCache>
              <c:extLst/>
            </c:strRef>
          </c:cat>
          <c:val>
            <c:numRef>
              <c:f>Feuil1!$B$2:$B$8</c:f>
              <c:numCache>
                <c:formatCode>#\ ##0\ _€</c:formatCode>
                <c:ptCount val="6"/>
                <c:pt idx="0">
                  <c:v>38291</c:v>
                </c:pt>
                <c:pt idx="1">
                  <c:v>14500</c:v>
                </c:pt>
                <c:pt idx="2">
                  <c:v>1200</c:v>
                </c:pt>
                <c:pt idx="3">
                  <c:v>569</c:v>
                </c:pt>
                <c:pt idx="4">
                  <c:v>2000</c:v>
                </c:pt>
                <c:pt idx="5">
                  <c:v>11321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171F-4EBD-9EF2-53919333141C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2898378187136292"/>
          <c:y val="0.17312196805086566"/>
          <c:w val="0.25843893935411955"/>
          <c:h val="0.29627923838273751"/>
        </c:manualLayout>
      </c:layout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 dirty="0"/>
              <a:t>Dépenses 2021 / 2022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2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>
        <c:manualLayout>
          <c:layoutTarget val="inner"/>
          <c:xMode val="edge"/>
          <c:yMode val="edge"/>
          <c:x val="0.16397268776831353"/>
          <c:y val="0.12161636045494313"/>
          <c:w val="0.66372516509381985"/>
          <c:h val="0.6177559055118110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Budget 20/2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>
              <a:outerShdw blurRad="254000" sx="102000" sy="102000" algn="ctr" rotWithShape="0">
                <a:prstClr val="black">
                  <a:alpha val="20000"/>
                </a:prst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2-171F-4EBD-9EF2-53919333141C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8-171F-4EBD-9EF2-53919333141C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171F-4EBD-9EF2-53919333141C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6-171F-4EBD-9EF2-53919333141C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171F-4EBD-9EF2-53919333141C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4-171F-4EBD-9EF2-53919333141C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171F-4EBD-9EF2-53919333141C}"/>
              </c:ext>
            </c:extLst>
          </c:dPt>
          <c:cat>
            <c:strRef>
              <c:f>Feuil1!$A$2:$A$8</c:f>
              <c:strCache>
                <c:ptCount val="7"/>
                <c:pt idx="0">
                  <c:v>Frais d'encadrement</c:v>
                </c:pt>
                <c:pt idx="1">
                  <c:v>Matériels et autres</c:v>
                </c:pt>
                <c:pt idx="2">
                  <c:v>Affiliations et licences</c:v>
                </c:pt>
                <c:pt idx="3">
                  <c:v>Engagements compétitions</c:v>
                </c:pt>
                <c:pt idx="4">
                  <c:v>Frais Administratifs</c:v>
                </c:pt>
                <c:pt idx="5">
                  <c:v>Dépenses diverses</c:v>
                </c:pt>
                <c:pt idx="6">
                  <c:v>Provisions Adhésions 21/22</c:v>
                </c:pt>
              </c:strCache>
            </c:strRef>
          </c:cat>
          <c:val>
            <c:numRef>
              <c:f>Feuil1!$B$2:$B$8</c:f>
              <c:numCache>
                <c:formatCode>#\ ##0\ "€"</c:formatCode>
                <c:ptCount val="7"/>
                <c:pt idx="0">
                  <c:v>49330</c:v>
                </c:pt>
                <c:pt idx="1">
                  <c:v>5600</c:v>
                </c:pt>
                <c:pt idx="2">
                  <c:v>10900</c:v>
                </c:pt>
                <c:pt idx="3">
                  <c:v>600</c:v>
                </c:pt>
                <c:pt idx="4">
                  <c:v>2260</c:v>
                </c:pt>
                <c:pt idx="5">
                  <c:v>166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71F-4EBD-9EF2-53919333141C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Réalisée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>
              <a:outerShdw blurRad="254000" sx="102000" sy="102000" algn="ctr" rotWithShape="0">
                <a:prstClr val="black">
                  <a:alpha val="20000"/>
                </a:prstClr>
              </a:outerShdw>
            </a:effectLst>
          </c:spPr>
          <c:invertIfNegative val="0"/>
          <c:cat>
            <c:strRef>
              <c:f>Feuil1!$A$2:$A$8</c:f>
              <c:strCache>
                <c:ptCount val="7"/>
                <c:pt idx="0">
                  <c:v>Frais d'encadrement</c:v>
                </c:pt>
                <c:pt idx="1">
                  <c:v>Matériels et autres</c:v>
                </c:pt>
                <c:pt idx="2">
                  <c:v>Affiliations et licences</c:v>
                </c:pt>
                <c:pt idx="3">
                  <c:v>Engagements compétitions</c:v>
                </c:pt>
                <c:pt idx="4">
                  <c:v>Frais Administratifs</c:v>
                </c:pt>
                <c:pt idx="5">
                  <c:v>Dépenses diverses</c:v>
                </c:pt>
                <c:pt idx="6">
                  <c:v>Provisions Adhésions 21/22</c:v>
                </c:pt>
              </c:strCache>
            </c:strRef>
          </c:cat>
          <c:val>
            <c:numRef>
              <c:f>Feuil1!$C$2:$C$8</c:f>
              <c:numCache>
                <c:formatCode>#\ ##0\ "€"</c:formatCode>
                <c:ptCount val="7"/>
                <c:pt idx="0">
                  <c:v>38599</c:v>
                </c:pt>
                <c:pt idx="1">
                  <c:v>3060</c:v>
                </c:pt>
                <c:pt idx="2">
                  <c:v>10335</c:v>
                </c:pt>
                <c:pt idx="3">
                  <c:v>285</c:v>
                </c:pt>
                <c:pt idx="4">
                  <c:v>2148</c:v>
                </c:pt>
                <c:pt idx="5">
                  <c:v>2834</c:v>
                </c:pt>
                <c:pt idx="6">
                  <c:v>9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C5A2-4F6D-AE47-03CFBA871AB8}"/>
            </c:ext>
          </c:extLst>
        </c:ser>
        <c:ser>
          <c:idx val="2"/>
          <c:order val="2"/>
          <c:tx>
            <c:strRef>
              <c:f>Feuil1!$D$1</c:f>
              <c:strCache>
                <c:ptCount val="1"/>
                <c:pt idx="0">
                  <c:v>Budget 21/2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>
              <a:outerShdw blurRad="254000" sx="102000" sy="102000" algn="ctr" rotWithShape="0">
                <a:prstClr val="black">
                  <a:alpha val="20000"/>
                </a:prstClr>
              </a:outerShdw>
            </a:effectLst>
          </c:spPr>
          <c:invertIfNegative val="0"/>
          <c:cat>
            <c:strRef>
              <c:f>Feuil1!$A$2:$A$8</c:f>
              <c:strCache>
                <c:ptCount val="7"/>
                <c:pt idx="0">
                  <c:v>Frais d'encadrement</c:v>
                </c:pt>
                <c:pt idx="1">
                  <c:v>Matériels et autres</c:v>
                </c:pt>
                <c:pt idx="2">
                  <c:v>Affiliations et licences</c:v>
                </c:pt>
                <c:pt idx="3">
                  <c:v>Engagements compétitions</c:v>
                </c:pt>
                <c:pt idx="4">
                  <c:v>Frais Administratifs</c:v>
                </c:pt>
                <c:pt idx="5">
                  <c:v>Dépenses diverses</c:v>
                </c:pt>
                <c:pt idx="6">
                  <c:v>Provisions Adhésions 21/22</c:v>
                </c:pt>
              </c:strCache>
            </c:strRef>
          </c:cat>
          <c:val>
            <c:numRef>
              <c:f>Feuil1!$D$2:$D$8</c:f>
              <c:numCache>
                <c:formatCode>#\ ##0\ "€"</c:formatCode>
                <c:ptCount val="7"/>
                <c:pt idx="0">
                  <c:v>43830</c:v>
                </c:pt>
                <c:pt idx="1">
                  <c:v>11700</c:v>
                </c:pt>
                <c:pt idx="2">
                  <c:v>12800</c:v>
                </c:pt>
                <c:pt idx="3">
                  <c:v>2550</c:v>
                </c:pt>
                <c:pt idx="4">
                  <c:v>2000</c:v>
                </c:pt>
                <c:pt idx="5">
                  <c:v>265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A795-4A37-B02D-451446C2EE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2101276864"/>
        <c:axId val="2101281024"/>
      </c:barChart>
      <c:catAx>
        <c:axId val="21012768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2101281024"/>
        <c:crosses val="autoZero"/>
        <c:auto val="1"/>
        <c:lblAlgn val="ctr"/>
        <c:lblOffset val="100"/>
        <c:noMultiLvlLbl val="0"/>
      </c:catAx>
      <c:valAx>
        <c:axId val="2101281024"/>
        <c:scaling>
          <c:orientation val="minMax"/>
        </c:scaling>
        <c:delete val="0"/>
        <c:axPos val="l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#\ ##0\ &quot;€&quot;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2101276864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>
            <a:solidFill>
              <a:schemeClr val="dk1">
                <a:lumMod val="35000"/>
                <a:lumOff val="65000"/>
              </a:schemeClr>
            </a:solidFill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197" b="0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</c:dTable>
      <c:spPr>
        <a:noFill/>
        <a:ln>
          <a:noFill/>
        </a:ln>
        <a:effectLst/>
      </c:spPr>
    </c:plotArea>
    <c:legend>
      <c:legendPos val="r"/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 dirty="0"/>
              <a:t>Recettes 2020 / 2021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2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>
        <c:manualLayout>
          <c:layoutTarget val="inner"/>
          <c:xMode val="edge"/>
          <c:yMode val="edge"/>
          <c:x val="0.16397268776831353"/>
          <c:y val="0.11656585540443808"/>
          <c:w val="0.66372516509381985"/>
          <c:h val="0.6177559055118110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Budget 20/2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>
              <a:outerShdw blurRad="254000" sx="102000" sy="102000" algn="ctr" rotWithShape="0">
                <a:prstClr val="black">
                  <a:alpha val="20000"/>
                </a:prst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2-171F-4EBD-9EF2-53919333141C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8-171F-4EBD-9EF2-53919333141C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171F-4EBD-9EF2-53919333141C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6-171F-4EBD-9EF2-53919333141C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171F-4EBD-9EF2-53919333141C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4-171F-4EBD-9EF2-53919333141C}"/>
              </c:ext>
            </c:extLst>
          </c:dPt>
          <c:cat>
            <c:strRef>
              <c:f>Feuil1!$A$2:$A$8</c:f>
              <c:strCache>
                <c:ptCount val="6"/>
                <c:pt idx="0">
                  <c:v>Cotisations</c:v>
                </c:pt>
                <c:pt idx="1">
                  <c:v>Subvention Municipale</c:v>
                </c:pt>
                <c:pt idx="2">
                  <c:v>Subvention départementale</c:v>
                </c:pt>
                <c:pt idx="3">
                  <c:v>Recettes diverses</c:v>
                </c:pt>
                <c:pt idx="4">
                  <c:v>Sponsoring La Résidence</c:v>
                </c:pt>
                <c:pt idx="5">
                  <c:v>Indemnisation chômage partiel</c:v>
                </c:pt>
              </c:strCache>
              <c:extLst/>
            </c:strRef>
          </c:cat>
          <c:val>
            <c:numRef>
              <c:f>Feuil1!$B$2:$B$8</c:f>
              <c:numCache>
                <c:formatCode>#\ ##0\ "€"</c:formatCode>
                <c:ptCount val="6"/>
                <c:pt idx="0">
                  <c:v>44500</c:v>
                </c:pt>
                <c:pt idx="1">
                  <c:v>14000</c:v>
                </c:pt>
                <c:pt idx="2">
                  <c:v>1200</c:v>
                </c:pt>
                <c:pt idx="3">
                  <c:v>3650</c:v>
                </c:pt>
                <c:pt idx="4">
                  <c:v>2000</c:v>
                </c:pt>
                <c:pt idx="5">
                  <c:v>5000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171F-4EBD-9EF2-53919333141C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Réalisée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>
              <a:outerShdw blurRad="254000" sx="102000" sy="102000" algn="ctr" rotWithShape="0">
                <a:prstClr val="black">
                  <a:alpha val="20000"/>
                </a:prstClr>
              </a:outerShdw>
            </a:effectLst>
          </c:spPr>
          <c:invertIfNegative val="0"/>
          <c:cat>
            <c:strRef>
              <c:f>Feuil1!$A$2:$A$8</c:f>
              <c:strCache>
                <c:ptCount val="6"/>
                <c:pt idx="0">
                  <c:v>Cotisations</c:v>
                </c:pt>
                <c:pt idx="1">
                  <c:v>Subvention Municipale</c:v>
                </c:pt>
                <c:pt idx="2">
                  <c:v>Subvention départementale</c:v>
                </c:pt>
                <c:pt idx="3">
                  <c:v>Recettes diverses</c:v>
                </c:pt>
                <c:pt idx="4">
                  <c:v>Sponsoring La Résidence</c:v>
                </c:pt>
                <c:pt idx="5">
                  <c:v>Indemnisation chômage partiel</c:v>
                </c:pt>
              </c:strCache>
              <c:extLst/>
            </c:strRef>
          </c:cat>
          <c:val>
            <c:numRef>
              <c:f>Feuil1!$C$2:$C$8</c:f>
              <c:numCache>
                <c:formatCode>#\ ##0\ "€"</c:formatCode>
                <c:ptCount val="6"/>
                <c:pt idx="0">
                  <c:v>38291</c:v>
                </c:pt>
                <c:pt idx="1">
                  <c:v>14500</c:v>
                </c:pt>
                <c:pt idx="2">
                  <c:v>1200</c:v>
                </c:pt>
                <c:pt idx="3">
                  <c:v>569</c:v>
                </c:pt>
                <c:pt idx="4">
                  <c:v>2000</c:v>
                </c:pt>
                <c:pt idx="5">
                  <c:v>13890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11-C5A2-4F6D-AE47-03CFBA871AB8}"/>
            </c:ext>
          </c:extLst>
        </c:ser>
        <c:ser>
          <c:idx val="2"/>
          <c:order val="2"/>
          <c:tx>
            <c:strRef>
              <c:f>Feuil1!$D$1</c:f>
              <c:strCache>
                <c:ptCount val="1"/>
                <c:pt idx="0">
                  <c:v>Budget 21/2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>
              <a:outerShdw blurRad="254000" sx="102000" sy="102000" algn="ctr" rotWithShape="0">
                <a:prstClr val="black">
                  <a:alpha val="20000"/>
                </a:prstClr>
              </a:outerShdw>
            </a:effectLst>
          </c:spPr>
          <c:invertIfNegative val="0"/>
          <c:cat>
            <c:strRef>
              <c:f>Feuil1!$A$2:$A$8</c:f>
              <c:strCache>
                <c:ptCount val="6"/>
                <c:pt idx="0">
                  <c:v>Cotisations</c:v>
                </c:pt>
                <c:pt idx="1">
                  <c:v>Subvention Municipale</c:v>
                </c:pt>
                <c:pt idx="2">
                  <c:v>Subvention départementale</c:v>
                </c:pt>
                <c:pt idx="3">
                  <c:v>Recettes diverses</c:v>
                </c:pt>
                <c:pt idx="4">
                  <c:v>Sponsoring La Résidence</c:v>
                </c:pt>
                <c:pt idx="5">
                  <c:v>Indemnisation chômage partiel</c:v>
                </c:pt>
              </c:strCache>
              <c:extLst/>
            </c:strRef>
          </c:cat>
          <c:val>
            <c:numRef>
              <c:f>Feuil1!$D$2:$D$8</c:f>
              <c:numCache>
                <c:formatCode>#\ ##0\ "€"</c:formatCode>
                <c:ptCount val="6"/>
                <c:pt idx="0">
                  <c:v>36000</c:v>
                </c:pt>
                <c:pt idx="1">
                  <c:v>14500</c:v>
                </c:pt>
                <c:pt idx="2">
                  <c:v>1200</c:v>
                </c:pt>
                <c:pt idx="3">
                  <c:v>23830</c:v>
                </c:pt>
                <c:pt idx="4">
                  <c:v>0</c:v>
                </c:pt>
                <c:pt idx="5">
                  <c:v>0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D-BBBC-4FDE-8CDC-5BE6C5654D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2101276864"/>
        <c:axId val="2101281024"/>
      </c:barChart>
      <c:catAx>
        <c:axId val="21012768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2101281024"/>
        <c:crosses val="autoZero"/>
        <c:auto val="1"/>
        <c:lblAlgn val="ctr"/>
        <c:lblOffset val="100"/>
        <c:noMultiLvlLbl val="0"/>
      </c:catAx>
      <c:valAx>
        <c:axId val="2101281024"/>
        <c:scaling>
          <c:orientation val="minMax"/>
        </c:scaling>
        <c:delete val="0"/>
        <c:axPos val="l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#\ ##0\ &quot;€&quot;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2101276864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>
            <a:solidFill>
              <a:schemeClr val="dk1">
                <a:lumMod val="35000"/>
                <a:lumOff val="65000"/>
              </a:schemeClr>
            </a:solidFill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197" b="0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</c:dTable>
      <c:spPr>
        <a:noFill/>
        <a:ln>
          <a:noFill/>
        </a:ln>
        <a:effectLst/>
      </c:spPr>
    </c:plotArea>
    <c:legend>
      <c:legendPos val="r"/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image" Target="../media/image16.png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image" Target="../media/image18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010CF21-4A6D-44EF-A02C-3D5169816247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#1" csCatId="colorful" phldr="1"/>
      <dgm:spPr/>
      <dgm:t>
        <a:bodyPr/>
        <a:lstStyle/>
        <a:p>
          <a:endParaRPr lang="fr-FR"/>
        </a:p>
      </dgm:t>
    </dgm:pt>
    <dgm:pt modelId="{59788018-3182-43A3-8988-94BE0745A02A}">
      <dgm:prSet phldrT="[Texte]" custT="1"/>
      <dgm:spPr/>
      <dgm:t>
        <a:bodyPr/>
        <a:lstStyle/>
        <a:p>
          <a:r>
            <a:rPr lang="fr-FR" sz="2000" dirty="0"/>
            <a:t>Rapport moral du Président : bilan et projet 2021-2024</a:t>
          </a:r>
        </a:p>
      </dgm:t>
    </dgm:pt>
    <dgm:pt modelId="{0F449731-D9A8-453B-9CCE-25DFB8DF4287}" type="parTrans" cxnId="{127426EF-8ACA-4C2A-9DCA-089579810FA4}">
      <dgm:prSet/>
      <dgm:spPr/>
      <dgm:t>
        <a:bodyPr/>
        <a:lstStyle/>
        <a:p>
          <a:endParaRPr lang="fr-FR" sz="1400"/>
        </a:p>
      </dgm:t>
    </dgm:pt>
    <dgm:pt modelId="{F562CD0B-E8EB-4DBC-82FD-4F9ECF32E366}" type="sibTrans" cxnId="{127426EF-8ACA-4C2A-9DCA-089579810FA4}">
      <dgm:prSet/>
      <dgm:spPr/>
      <dgm:t>
        <a:bodyPr/>
        <a:lstStyle/>
        <a:p>
          <a:endParaRPr lang="fr-FR" sz="1400"/>
        </a:p>
      </dgm:t>
    </dgm:pt>
    <dgm:pt modelId="{B9A48CF8-D428-45D1-8969-FBBF15BE7DBA}">
      <dgm:prSet custT="1"/>
      <dgm:spPr/>
      <dgm:t>
        <a:bodyPr/>
        <a:lstStyle/>
        <a:p>
          <a:r>
            <a:rPr lang="fr-FR" sz="2000" dirty="0"/>
            <a:t>Rapport financier de l’année 2020-2021</a:t>
          </a:r>
        </a:p>
      </dgm:t>
    </dgm:pt>
    <dgm:pt modelId="{A0CD69F9-CCD9-494F-8BAA-E371C16384F0}" type="parTrans" cxnId="{526ECF28-3CAD-4D93-A271-BA130FC38A40}">
      <dgm:prSet/>
      <dgm:spPr/>
      <dgm:t>
        <a:bodyPr/>
        <a:lstStyle/>
        <a:p>
          <a:endParaRPr lang="fr-FR"/>
        </a:p>
      </dgm:t>
    </dgm:pt>
    <dgm:pt modelId="{51D165D4-3F2F-4577-B999-E3D44DF8CE25}" type="sibTrans" cxnId="{526ECF28-3CAD-4D93-A271-BA130FC38A40}">
      <dgm:prSet/>
      <dgm:spPr/>
      <dgm:t>
        <a:bodyPr/>
        <a:lstStyle/>
        <a:p>
          <a:endParaRPr lang="fr-FR"/>
        </a:p>
      </dgm:t>
    </dgm:pt>
    <dgm:pt modelId="{2950704D-F612-46DF-93DB-38562274CE0A}">
      <dgm:prSet custT="1"/>
      <dgm:spPr/>
      <dgm:t>
        <a:bodyPr/>
        <a:lstStyle/>
        <a:p>
          <a:r>
            <a:rPr lang="fr-FR" sz="2000" dirty="0"/>
            <a:t>Élections au Conseil d’Administration </a:t>
          </a:r>
        </a:p>
      </dgm:t>
    </dgm:pt>
    <dgm:pt modelId="{987F1677-1426-4E16-870E-56D0BC663F9B}" type="parTrans" cxnId="{75BC15D3-E58B-4B5A-AEB7-3CE02EFD8705}">
      <dgm:prSet/>
      <dgm:spPr/>
      <dgm:t>
        <a:bodyPr/>
        <a:lstStyle/>
        <a:p>
          <a:endParaRPr lang="fr-FR"/>
        </a:p>
      </dgm:t>
    </dgm:pt>
    <dgm:pt modelId="{83820126-CD9B-4B36-913F-47587C72FAFD}" type="sibTrans" cxnId="{75BC15D3-E58B-4B5A-AEB7-3CE02EFD8705}">
      <dgm:prSet/>
      <dgm:spPr/>
      <dgm:t>
        <a:bodyPr/>
        <a:lstStyle/>
        <a:p>
          <a:endParaRPr lang="fr-FR"/>
        </a:p>
      </dgm:t>
    </dgm:pt>
    <dgm:pt modelId="{445F633E-575C-4AF5-92DD-A71CC7C927A2}">
      <dgm:prSet custT="1"/>
      <dgm:spPr/>
      <dgm:t>
        <a:bodyPr/>
        <a:lstStyle/>
        <a:p>
          <a:r>
            <a:rPr lang="fr-FR" sz="2000" dirty="0"/>
            <a:t>Budget de l’année 2021-2022</a:t>
          </a:r>
        </a:p>
      </dgm:t>
    </dgm:pt>
    <dgm:pt modelId="{78170A6E-C864-4525-99F0-764BDD069F7D}" type="parTrans" cxnId="{10C8B034-59B8-4A7B-BB37-6397972DA53F}">
      <dgm:prSet/>
      <dgm:spPr/>
      <dgm:t>
        <a:bodyPr/>
        <a:lstStyle/>
        <a:p>
          <a:endParaRPr lang="fr-FR"/>
        </a:p>
      </dgm:t>
    </dgm:pt>
    <dgm:pt modelId="{6DCA3502-1D36-4058-961B-A2DA94F7B6BD}" type="sibTrans" cxnId="{10C8B034-59B8-4A7B-BB37-6397972DA53F}">
      <dgm:prSet/>
      <dgm:spPr/>
      <dgm:t>
        <a:bodyPr/>
        <a:lstStyle/>
        <a:p>
          <a:endParaRPr lang="fr-FR"/>
        </a:p>
      </dgm:t>
    </dgm:pt>
    <dgm:pt modelId="{414797EB-74B4-4291-AF3E-06BCA64CF6B6}">
      <dgm:prSet custT="1"/>
      <dgm:spPr/>
      <dgm:t>
        <a:bodyPr/>
        <a:lstStyle/>
        <a:p>
          <a:r>
            <a:rPr lang="fr-FR" sz="2000" dirty="0"/>
            <a:t>Questions diverses</a:t>
          </a:r>
        </a:p>
      </dgm:t>
    </dgm:pt>
    <dgm:pt modelId="{D9EEC982-6F8E-415B-9E6B-101927331BD8}" type="parTrans" cxnId="{0281512C-E79C-4333-9D56-2A66E949228F}">
      <dgm:prSet/>
      <dgm:spPr/>
      <dgm:t>
        <a:bodyPr/>
        <a:lstStyle/>
        <a:p>
          <a:endParaRPr lang="fr-FR"/>
        </a:p>
      </dgm:t>
    </dgm:pt>
    <dgm:pt modelId="{3124CA87-5240-449D-93B8-646AA320F84C}" type="sibTrans" cxnId="{0281512C-E79C-4333-9D56-2A66E949228F}">
      <dgm:prSet/>
      <dgm:spPr/>
      <dgm:t>
        <a:bodyPr/>
        <a:lstStyle/>
        <a:p>
          <a:endParaRPr lang="fr-FR"/>
        </a:p>
      </dgm:t>
    </dgm:pt>
    <dgm:pt modelId="{08449366-2565-4365-85A6-6FD21C00BC0F}" type="pres">
      <dgm:prSet presAssocID="{F010CF21-4A6D-44EF-A02C-3D5169816247}" presName="Name0" presStyleCnt="0">
        <dgm:presLayoutVars>
          <dgm:chMax val="7"/>
          <dgm:chPref val="7"/>
          <dgm:dir/>
        </dgm:presLayoutVars>
      </dgm:prSet>
      <dgm:spPr/>
    </dgm:pt>
    <dgm:pt modelId="{43AFC4E7-46DA-4B7B-B201-0A406A05CAD2}" type="pres">
      <dgm:prSet presAssocID="{F010CF21-4A6D-44EF-A02C-3D5169816247}" presName="Name1" presStyleCnt="0"/>
      <dgm:spPr/>
    </dgm:pt>
    <dgm:pt modelId="{C89A3969-C068-41DF-977E-ED5F7B6D0CE6}" type="pres">
      <dgm:prSet presAssocID="{F010CF21-4A6D-44EF-A02C-3D5169816247}" presName="cycle" presStyleCnt="0"/>
      <dgm:spPr/>
    </dgm:pt>
    <dgm:pt modelId="{36B09AF6-20B6-459B-86E4-BA1ECCD29B61}" type="pres">
      <dgm:prSet presAssocID="{F010CF21-4A6D-44EF-A02C-3D5169816247}" presName="srcNode" presStyleLbl="node1" presStyleIdx="0" presStyleCnt="5"/>
      <dgm:spPr/>
    </dgm:pt>
    <dgm:pt modelId="{6940BDDF-1FEF-41BF-B9E9-0FFE3926A970}" type="pres">
      <dgm:prSet presAssocID="{F010CF21-4A6D-44EF-A02C-3D5169816247}" presName="conn" presStyleLbl="parChTrans1D2" presStyleIdx="0" presStyleCnt="1"/>
      <dgm:spPr/>
    </dgm:pt>
    <dgm:pt modelId="{CF948C64-B606-46D3-AF0E-5C95CC7F1D42}" type="pres">
      <dgm:prSet presAssocID="{F010CF21-4A6D-44EF-A02C-3D5169816247}" presName="extraNode" presStyleLbl="node1" presStyleIdx="0" presStyleCnt="5"/>
      <dgm:spPr/>
    </dgm:pt>
    <dgm:pt modelId="{4485BF69-EF87-4AEE-AFDF-DE2F8D2ACCD9}" type="pres">
      <dgm:prSet presAssocID="{F010CF21-4A6D-44EF-A02C-3D5169816247}" presName="dstNode" presStyleLbl="node1" presStyleIdx="0" presStyleCnt="5"/>
      <dgm:spPr/>
    </dgm:pt>
    <dgm:pt modelId="{54C74578-773C-4297-A4DE-1398F67BB91C}" type="pres">
      <dgm:prSet presAssocID="{59788018-3182-43A3-8988-94BE0745A02A}" presName="text_1" presStyleLbl="node1" presStyleIdx="0" presStyleCnt="5" custLinFactNeighborY="4204">
        <dgm:presLayoutVars>
          <dgm:bulletEnabled val="1"/>
        </dgm:presLayoutVars>
      </dgm:prSet>
      <dgm:spPr/>
    </dgm:pt>
    <dgm:pt modelId="{10D97C5B-BA88-4603-BEB8-816B9E26E1E0}" type="pres">
      <dgm:prSet presAssocID="{59788018-3182-43A3-8988-94BE0745A02A}" presName="accent_1" presStyleCnt="0"/>
      <dgm:spPr/>
    </dgm:pt>
    <dgm:pt modelId="{EBBCF617-4DDB-47D0-98C7-99413FA904B7}" type="pres">
      <dgm:prSet presAssocID="{59788018-3182-43A3-8988-94BE0745A02A}" presName="accentRepeatNode" presStyleLbl="solidFgAcc1" presStyleIdx="0" presStyleCnt="5"/>
      <dgm:spPr/>
    </dgm:pt>
    <dgm:pt modelId="{38266B62-763B-47EE-941B-BD512A93B9FC}" type="pres">
      <dgm:prSet presAssocID="{B9A48CF8-D428-45D1-8969-FBBF15BE7DBA}" presName="text_2" presStyleLbl="node1" presStyleIdx="1" presStyleCnt="5">
        <dgm:presLayoutVars>
          <dgm:bulletEnabled val="1"/>
        </dgm:presLayoutVars>
      </dgm:prSet>
      <dgm:spPr/>
    </dgm:pt>
    <dgm:pt modelId="{367B11EA-E5C1-4DED-8822-EE706D7B3490}" type="pres">
      <dgm:prSet presAssocID="{B9A48CF8-D428-45D1-8969-FBBF15BE7DBA}" presName="accent_2" presStyleCnt="0"/>
      <dgm:spPr/>
    </dgm:pt>
    <dgm:pt modelId="{7A113706-4115-4E46-A0DB-BB2E4C947383}" type="pres">
      <dgm:prSet presAssocID="{B9A48CF8-D428-45D1-8969-FBBF15BE7DBA}" presName="accentRepeatNode" presStyleLbl="solidFgAcc1" presStyleIdx="1" presStyleCnt="5"/>
      <dgm:spPr/>
    </dgm:pt>
    <dgm:pt modelId="{C44906E9-3C2F-4CD0-B0C9-498EF34769BF}" type="pres">
      <dgm:prSet presAssocID="{2950704D-F612-46DF-93DB-38562274CE0A}" presName="text_3" presStyleLbl="node1" presStyleIdx="2" presStyleCnt="5">
        <dgm:presLayoutVars>
          <dgm:bulletEnabled val="1"/>
        </dgm:presLayoutVars>
      </dgm:prSet>
      <dgm:spPr/>
    </dgm:pt>
    <dgm:pt modelId="{99431DD1-4D5B-4288-A4D7-5DDCAA9317FA}" type="pres">
      <dgm:prSet presAssocID="{2950704D-F612-46DF-93DB-38562274CE0A}" presName="accent_3" presStyleCnt="0"/>
      <dgm:spPr/>
    </dgm:pt>
    <dgm:pt modelId="{0692BF8D-B063-4580-8A2D-225A14481CCD}" type="pres">
      <dgm:prSet presAssocID="{2950704D-F612-46DF-93DB-38562274CE0A}" presName="accentRepeatNode" presStyleLbl="solidFgAcc1" presStyleIdx="2" presStyleCnt="5"/>
      <dgm:spPr/>
    </dgm:pt>
    <dgm:pt modelId="{985C842E-3771-4A21-BC8F-6664E8E4209A}" type="pres">
      <dgm:prSet presAssocID="{445F633E-575C-4AF5-92DD-A71CC7C927A2}" presName="text_4" presStyleLbl="node1" presStyleIdx="3" presStyleCnt="5">
        <dgm:presLayoutVars>
          <dgm:bulletEnabled val="1"/>
        </dgm:presLayoutVars>
      </dgm:prSet>
      <dgm:spPr/>
    </dgm:pt>
    <dgm:pt modelId="{9DF189B9-2AF4-4537-8488-D9604CD8D7C6}" type="pres">
      <dgm:prSet presAssocID="{445F633E-575C-4AF5-92DD-A71CC7C927A2}" presName="accent_4" presStyleCnt="0"/>
      <dgm:spPr/>
    </dgm:pt>
    <dgm:pt modelId="{1CAC461D-769E-43F1-85D8-A86E37EE9368}" type="pres">
      <dgm:prSet presAssocID="{445F633E-575C-4AF5-92DD-A71CC7C927A2}" presName="accentRepeatNode" presStyleLbl="solidFgAcc1" presStyleIdx="3" presStyleCnt="5"/>
      <dgm:spPr/>
    </dgm:pt>
    <dgm:pt modelId="{E94408CD-EF85-4774-BA53-A3DB7D3C1F4C}" type="pres">
      <dgm:prSet presAssocID="{414797EB-74B4-4291-AF3E-06BCA64CF6B6}" presName="text_5" presStyleLbl="node1" presStyleIdx="4" presStyleCnt="5">
        <dgm:presLayoutVars>
          <dgm:bulletEnabled val="1"/>
        </dgm:presLayoutVars>
      </dgm:prSet>
      <dgm:spPr/>
    </dgm:pt>
    <dgm:pt modelId="{084B543F-777C-44B7-8089-181F52D7D6B4}" type="pres">
      <dgm:prSet presAssocID="{414797EB-74B4-4291-AF3E-06BCA64CF6B6}" presName="accent_5" presStyleCnt="0"/>
      <dgm:spPr/>
    </dgm:pt>
    <dgm:pt modelId="{5AF5E7EE-A04D-40FC-8300-CF20EEE80831}" type="pres">
      <dgm:prSet presAssocID="{414797EB-74B4-4291-AF3E-06BCA64CF6B6}" presName="accentRepeatNode" presStyleLbl="solidFgAcc1" presStyleIdx="4" presStyleCnt="5"/>
      <dgm:spPr/>
    </dgm:pt>
  </dgm:ptLst>
  <dgm:cxnLst>
    <dgm:cxn modelId="{241DD71D-5288-427D-8977-3C2125195ABF}" type="presOf" srcId="{2950704D-F612-46DF-93DB-38562274CE0A}" destId="{C44906E9-3C2F-4CD0-B0C9-498EF34769BF}" srcOrd="0" destOrd="0" presId="urn:microsoft.com/office/officeart/2008/layout/VerticalCurvedList"/>
    <dgm:cxn modelId="{526ECF28-3CAD-4D93-A271-BA130FC38A40}" srcId="{F010CF21-4A6D-44EF-A02C-3D5169816247}" destId="{B9A48CF8-D428-45D1-8969-FBBF15BE7DBA}" srcOrd="1" destOrd="0" parTransId="{A0CD69F9-CCD9-494F-8BAA-E371C16384F0}" sibTransId="{51D165D4-3F2F-4577-B999-E3D44DF8CE25}"/>
    <dgm:cxn modelId="{0281512C-E79C-4333-9D56-2A66E949228F}" srcId="{F010CF21-4A6D-44EF-A02C-3D5169816247}" destId="{414797EB-74B4-4291-AF3E-06BCA64CF6B6}" srcOrd="4" destOrd="0" parTransId="{D9EEC982-6F8E-415B-9E6B-101927331BD8}" sibTransId="{3124CA87-5240-449D-93B8-646AA320F84C}"/>
    <dgm:cxn modelId="{10C8B034-59B8-4A7B-BB37-6397972DA53F}" srcId="{F010CF21-4A6D-44EF-A02C-3D5169816247}" destId="{445F633E-575C-4AF5-92DD-A71CC7C927A2}" srcOrd="3" destOrd="0" parTransId="{78170A6E-C864-4525-99F0-764BDD069F7D}" sibTransId="{6DCA3502-1D36-4058-961B-A2DA94F7B6BD}"/>
    <dgm:cxn modelId="{6E4F5F35-0D7E-4E4D-AA5C-4E66D655145A}" type="presOf" srcId="{59788018-3182-43A3-8988-94BE0745A02A}" destId="{54C74578-773C-4297-A4DE-1398F67BB91C}" srcOrd="0" destOrd="0" presId="urn:microsoft.com/office/officeart/2008/layout/VerticalCurvedList"/>
    <dgm:cxn modelId="{D6801738-0EB3-407B-AD75-D97DFCA32239}" type="presOf" srcId="{445F633E-575C-4AF5-92DD-A71CC7C927A2}" destId="{985C842E-3771-4A21-BC8F-6664E8E4209A}" srcOrd="0" destOrd="0" presId="urn:microsoft.com/office/officeart/2008/layout/VerticalCurvedList"/>
    <dgm:cxn modelId="{2E88A469-91F1-4756-A449-0C6B21CED5FB}" type="presOf" srcId="{414797EB-74B4-4291-AF3E-06BCA64CF6B6}" destId="{E94408CD-EF85-4774-BA53-A3DB7D3C1F4C}" srcOrd="0" destOrd="0" presId="urn:microsoft.com/office/officeart/2008/layout/VerticalCurvedList"/>
    <dgm:cxn modelId="{47274B98-A3F8-B44A-8BC9-F42C0F4148D8}" type="presOf" srcId="{F010CF21-4A6D-44EF-A02C-3D5169816247}" destId="{08449366-2565-4365-85A6-6FD21C00BC0F}" srcOrd="0" destOrd="0" presId="urn:microsoft.com/office/officeart/2008/layout/VerticalCurvedList"/>
    <dgm:cxn modelId="{2BBCFF9A-EEFC-44B4-BC2D-134082FEEEF5}" type="presOf" srcId="{B9A48CF8-D428-45D1-8969-FBBF15BE7DBA}" destId="{38266B62-763B-47EE-941B-BD512A93B9FC}" srcOrd="0" destOrd="0" presId="urn:microsoft.com/office/officeart/2008/layout/VerticalCurvedList"/>
    <dgm:cxn modelId="{75BC15D3-E58B-4B5A-AEB7-3CE02EFD8705}" srcId="{F010CF21-4A6D-44EF-A02C-3D5169816247}" destId="{2950704D-F612-46DF-93DB-38562274CE0A}" srcOrd="2" destOrd="0" parTransId="{987F1677-1426-4E16-870E-56D0BC663F9B}" sibTransId="{83820126-CD9B-4B36-913F-47587C72FAFD}"/>
    <dgm:cxn modelId="{127426EF-8ACA-4C2A-9DCA-089579810FA4}" srcId="{F010CF21-4A6D-44EF-A02C-3D5169816247}" destId="{59788018-3182-43A3-8988-94BE0745A02A}" srcOrd="0" destOrd="0" parTransId="{0F449731-D9A8-453B-9CCE-25DFB8DF4287}" sibTransId="{F562CD0B-E8EB-4DBC-82FD-4F9ECF32E366}"/>
    <dgm:cxn modelId="{4BA219F5-DF5C-4A5A-8AD1-3305123A52BE}" type="presOf" srcId="{F562CD0B-E8EB-4DBC-82FD-4F9ECF32E366}" destId="{6940BDDF-1FEF-41BF-B9E9-0FFE3926A970}" srcOrd="0" destOrd="0" presId="urn:microsoft.com/office/officeart/2008/layout/VerticalCurvedList"/>
    <dgm:cxn modelId="{F061383E-55BE-644A-A054-B1BF76BC8A37}" type="presParOf" srcId="{08449366-2565-4365-85A6-6FD21C00BC0F}" destId="{43AFC4E7-46DA-4B7B-B201-0A406A05CAD2}" srcOrd="0" destOrd="0" presId="urn:microsoft.com/office/officeart/2008/layout/VerticalCurvedList"/>
    <dgm:cxn modelId="{6FF298EC-3580-F74F-90AB-72DC7E516CCF}" type="presParOf" srcId="{43AFC4E7-46DA-4B7B-B201-0A406A05CAD2}" destId="{C89A3969-C068-41DF-977E-ED5F7B6D0CE6}" srcOrd="0" destOrd="0" presId="urn:microsoft.com/office/officeart/2008/layout/VerticalCurvedList"/>
    <dgm:cxn modelId="{6729A3F8-BF06-514A-A444-B514AEEB00A8}" type="presParOf" srcId="{C89A3969-C068-41DF-977E-ED5F7B6D0CE6}" destId="{36B09AF6-20B6-459B-86E4-BA1ECCD29B61}" srcOrd="0" destOrd="0" presId="urn:microsoft.com/office/officeart/2008/layout/VerticalCurvedList"/>
    <dgm:cxn modelId="{6C2E9B69-AF8F-0148-8C74-F9F8288240F7}" type="presParOf" srcId="{C89A3969-C068-41DF-977E-ED5F7B6D0CE6}" destId="{6940BDDF-1FEF-41BF-B9E9-0FFE3926A970}" srcOrd="1" destOrd="0" presId="urn:microsoft.com/office/officeart/2008/layout/VerticalCurvedList"/>
    <dgm:cxn modelId="{D58DB0B2-11A2-5844-A5D6-88E4BC01A3D0}" type="presParOf" srcId="{C89A3969-C068-41DF-977E-ED5F7B6D0CE6}" destId="{CF948C64-B606-46D3-AF0E-5C95CC7F1D42}" srcOrd="2" destOrd="0" presId="urn:microsoft.com/office/officeart/2008/layout/VerticalCurvedList"/>
    <dgm:cxn modelId="{10696313-D083-2948-A140-15A5E3037090}" type="presParOf" srcId="{C89A3969-C068-41DF-977E-ED5F7B6D0CE6}" destId="{4485BF69-EF87-4AEE-AFDF-DE2F8D2ACCD9}" srcOrd="3" destOrd="0" presId="urn:microsoft.com/office/officeart/2008/layout/VerticalCurvedList"/>
    <dgm:cxn modelId="{3EED48A1-A558-C845-AADB-967072A92846}" type="presParOf" srcId="{43AFC4E7-46DA-4B7B-B201-0A406A05CAD2}" destId="{54C74578-773C-4297-A4DE-1398F67BB91C}" srcOrd="1" destOrd="0" presId="urn:microsoft.com/office/officeart/2008/layout/VerticalCurvedList"/>
    <dgm:cxn modelId="{482CF146-0D09-4849-B4E1-DC9831F36C1D}" type="presParOf" srcId="{43AFC4E7-46DA-4B7B-B201-0A406A05CAD2}" destId="{10D97C5B-BA88-4603-BEB8-816B9E26E1E0}" srcOrd="2" destOrd="0" presId="urn:microsoft.com/office/officeart/2008/layout/VerticalCurvedList"/>
    <dgm:cxn modelId="{76B9516D-0F20-FC4F-9CC0-824395ED95BC}" type="presParOf" srcId="{10D97C5B-BA88-4603-BEB8-816B9E26E1E0}" destId="{EBBCF617-4DDB-47D0-98C7-99413FA904B7}" srcOrd="0" destOrd="0" presId="urn:microsoft.com/office/officeart/2008/layout/VerticalCurvedList"/>
    <dgm:cxn modelId="{4EBF105E-81B6-4CB9-A83D-BADB4A1F3F6B}" type="presParOf" srcId="{43AFC4E7-46DA-4B7B-B201-0A406A05CAD2}" destId="{38266B62-763B-47EE-941B-BD512A93B9FC}" srcOrd="3" destOrd="0" presId="urn:microsoft.com/office/officeart/2008/layout/VerticalCurvedList"/>
    <dgm:cxn modelId="{ED363BF9-440F-435E-962C-A9C35F49A344}" type="presParOf" srcId="{43AFC4E7-46DA-4B7B-B201-0A406A05CAD2}" destId="{367B11EA-E5C1-4DED-8822-EE706D7B3490}" srcOrd="4" destOrd="0" presId="urn:microsoft.com/office/officeart/2008/layout/VerticalCurvedList"/>
    <dgm:cxn modelId="{3B005B22-F7CF-4BF5-9BB2-3FDAE20603B7}" type="presParOf" srcId="{367B11EA-E5C1-4DED-8822-EE706D7B3490}" destId="{7A113706-4115-4E46-A0DB-BB2E4C947383}" srcOrd="0" destOrd="0" presId="urn:microsoft.com/office/officeart/2008/layout/VerticalCurvedList"/>
    <dgm:cxn modelId="{B386FED0-5C5D-4D92-B6E3-ACD3BEC12D80}" type="presParOf" srcId="{43AFC4E7-46DA-4B7B-B201-0A406A05CAD2}" destId="{C44906E9-3C2F-4CD0-B0C9-498EF34769BF}" srcOrd="5" destOrd="0" presId="urn:microsoft.com/office/officeart/2008/layout/VerticalCurvedList"/>
    <dgm:cxn modelId="{DFEAE827-D2D2-42C0-98C4-B000CAB27FA2}" type="presParOf" srcId="{43AFC4E7-46DA-4B7B-B201-0A406A05CAD2}" destId="{99431DD1-4D5B-4288-A4D7-5DDCAA9317FA}" srcOrd="6" destOrd="0" presId="urn:microsoft.com/office/officeart/2008/layout/VerticalCurvedList"/>
    <dgm:cxn modelId="{06B8C854-316E-4EB4-BB52-E05E356F9592}" type="presParOf" srcId="{99431DD1-4D5B-4288-A4D7-5DDCAA9317FA}" destId="{0692BF8D-B063-4580-8A2D-225A14481CCD}" srcOrd="0" destOrd="0" presId="urn:microsoft.com/office/officeart/2008/layout/VerticalCurvedList"/>
    <dgm:cxn modelId="{881BBE41-FEDF-45D1-AD76-115D6A351C41}" type="presParOf" srcId="{43AFC4E7-46DA-4B7B-B201-0A406A05CAD2}" destId="{985C842E-3771-4A21-BC8F-6664E8E4209A}" srcOrd="7" destOrd="0" presId="urn:microsoft.com/office/officeart/2008/layout/VerticalCurvedList"/>
    <dgm:cxn modelId="{E9181451-AE84-4879-8081-53EEDAD249C1}" type="presParOf" srcId="{43AFC4E7-46DA-4B7B-B201-0A406A05CAD2}" destId="{9DF189B9-2AF4-4537-8488-D9604CD8D7C6}" srcOrd="8" destOrd="0" presId="urn:microsoft.com/office/officeart/2008/layout/VerticalCurvedList"/>
    <dgm:cxn modelId="{675284D5-7F6B-4E16-9B16-3416C5C07E60}" type="presParOf" srcId="{9DF189B9-2AF4-4537-8488-D9604CD8D7C6}" destId="{1CAC461D-769E-43F1-85D8-A86E37EE9368}" srcOrd="0" destOrd="0" presId="urn:microsoft.com/office/officeart/2008/layout/VerticalCurvedList"/>
    <dgm:cxn modelId="{0916922B-2E54-4986-9739-4D5C363FCDE6}" type="presParOf" srcId="{43AFC4E7-46DA-4B7B-B201-0A406A05CAD2}" destId="{E94408CD-EF85-4774-BA53-A3DB7D3C1F4C}" srcOrd="9" destOrd="0" presId="urn:microsoft.com/office/officeart/2008/layout/VerticalCurvedList"/>
    <dgm:cxn modelId="{DCE6FD2A-03BB-4280-AC64-DC7A4D8AA307}" type="presParOf" srcId="{43AFC4E7-46DA-4B7B-B201-0A406A05CAD2}" destId="{084B543F-777C-44B7-8089-181F52D7D6B4}" srcOrd="10" destOrd="0" presId="urn:microsoft.com/office/officeart/2008/layout/VerticalCurvedList"/>
    <dgm:cxn modelId="{71EF4550-A211-4E4D-91C4-D49A790C2D7D}" type="presParOf" srcId="{084B543F-777C-44B7-8089-181F52D7D6B4}" destId="{5AF5E7EE-A04D-40FC-8300-CF20EEE80831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F010CF21-4A6D-44EF-A02C-3D5169816247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#1" csCatId="colorful" phldr="1"/>
      <dgm:spPr/>
      <dgm:t>
        <a:bodyPr/>
        <a:lstStyle/>
        <a:p>
          <a:endParaRPr lang="fr-FR"/>
        </a:p>
      </dgm:t>
    </dgm:pt>
    <dgm:pt modelId="{59788018-3182-43A3-8988-94BE0745A02A}">
      <dgm:prSet phldrT="[Texte]" custT="1"/>
      <dgm:spPr/>
      <dgm:t>
        <a:bodyPr/>
        <a:lstStyle/>
        <a:p>
          <a:r>
            <a:rPr lang="fr-FR" sz="2000" dirty="0"/>
            <a:t>Rapport moral du Président : bilan et projet 2021-2024</a:t>
          </a:r>
        </a:p>
      </dgm:t>
    </dgm:pt>
    <dgm:pt modelId="{0F449731-D9A8-453B-9CCE-25DFB8DF4287}" type="parTrans" cxnId="{127426EF-8ACA-4C2A-9DCA-089579810FA4}">
      <dgm:prSet/>
      <dgm:spPr/>
      <dgm:t>
        <a:bodyPr/>
        <a:lstStyle/>
        <a:p>
          <a:endParaRPr lang="fr-FR" sz="1400"/>
        </a:p>
      </dgm:t>
    </dgm:pt>
    <dgm:pt modelId="{F562CD0B-E8EB-4DBC-82FD-4F9ECF32E366}" type="sibTrans" cxnId="{127426EF-8ACA-4C2A-9DCA-089579810FA4}">
      <dgm:prSet/>
      <dgm:spPr/>
      <dgm:t>
        <a:bodyPr/>
        <a:lstStyle/>
        <a:p>
          <a:endParaRPr lang="fr-FR" sz="1400"/>
        </a:p>
      </dgm:t>
    </dgm:pt>
    <dgm:pt modelId="{B9A48CF8-D428-45D1-8969-FBBF15BE7DBA}">
      <dgm:prSet custT="1"/>
      <dgm:spPr/>
      <dgm:t>
        <a:bodyPr/>
        <a:lstStyle/>
        <a:p>
          <a:r>
            <a:rPr lang="fr-FR" sz="2000" dirty="0"/>
            <a:t>Rapport financier de l’année 2020-2021</a:t>
          </a:r>
        </a:p>
      </dgm:t>
    </dgm:pt>
    <dgm:pt modelId="{A0CD69F9-CCD9-494F-8BAA-E371C16384F0}" type="parTrans" cxnId="{526ECF28-3CAD-4D93-A271-BA130FC38A40}">
      <dgm:prSet/>
      <dgm:spPr/>
      <dgm:t>
        <a:bodyPr/>
        <a:lstStyle/>
        <a:p>
          <a:endParaRPr lang="fr-FR"/>
        </a:p>
      </dgm:t>
    </dgm:pt>
    <dgm:pt modelId="{51D165D4-3F2F-4577-B999-E3D44DF8CE25}" type="sibTrans" cxnId="{526ECF28-3CAD-4D93-A271-BA130FC38A40}">
      <dgm:prSet/>
      <dgm:spPr/>
      <dgm:t>
        <a:bodyPr/>
        <a:lstStyle/>
        <a:p>
          <a:endParaRPr lang="fr-FR"/>
        </a:p>
      </dgm:t>
    </dgm:pt>
    <dgm:pt modelId="{2950704D-F612-46DF-93DB-38562274CE0A}">
      <dgm:prSet custT="1"/>
      <dgm:spPr/>
      <dgm:t>
        <a:bodyPr/>
        <a:lstStyle/>
        <a:p>
          <a:r>
            <a:rPr lang="fr-FR" sz="2000" dirty="0"/>
            <a:t>Élections au Conseil d’Administration </a:t>
          </a:r>
        </a:p>
      </dgm:t>
    </dgm:pt>
    <dgm:pt modelId="{987F1677-1426-4E16-870E-56D0BC663F9B}" type="parTrans" cxnId="{75BC15D3-E58B-4B5A-AEB7-3CE02EFD8705}">
      <dgm:prSet/>
      <dgm:spPr/>
      <dgm:t>
        <a:bodyPr/>
        <a:lstStyle/>
        <a:p>
          <a:endParaRPr lang="fr-FR"/>
        </a:p>
      </dgm:t>
    </dgm:pt>
    <dgm:pt modelId="{83820126-CD9B-4B36-913F-47587C72FAFD}" type="sibTrans" cxnId="{75BC15D3-E58B-4B5A-AEB7-3CE02EFD8705}">
      <dgm:prSet/>
      <dgm:spPr/>
      <dgm:t>
        <a:bodyPr/>
        <a:lstStyle/>
        <a:p>
          <a:endParaRPr lang="fr-FR"/>
        </a:p>
      </dgm:t>
    </dgm:pt>
    <dgm:pt modelId="{445F633E-575C-4AF5-92DD-A71CC7C927A2}">
      <dgm:prSet custT="1"/>
      <dgm:spPr/>
      <dgm:t>
        <a:bodyPr/>
        <a:lstStyle/>
        <a:p>
          <a:r>
            <a:rPr lang="fr-FR" sz="2000" dirty="0"/>
            <a:t>Budget de l’année 2021-2022</a:t>
          </a:r>
        </a:p>
      </dgm:t>
    </dgm:pt>
    <dgm:pt modelId="{78170A6E-C864-4525-99F0-764BDD069F7D}" type="parTrans" cxnId="{10C8B034-59B8-4A7B-BB37-6397972DA53F}">
      <dgm:prSet/>
      <dgm:spPr/>
      <dgm:t>
        <a:bodyPr/>
        <a:lstStyle/>
        <a:p>
          <a:endParaRPr lang="fr-FR"/>
        </a:p>
      </dgm:t>
    </dgm:pt>
    <dgm:pt modelId="{6DCA3502-1D36-4058-961B-A2DA94F7B6BD}" type="sibTrans" cxnId="{10C8B034-59B8-4A7B-BB37-6397972DA53F}">
      <dgm:prSet/>
      <dgm:spPr/>
      <dgm:t>
        <a:bodyPr/>
        <a:lstStyle/>
        <a:p>
          <a:endParaRPr lang="fr-FR"/>
        </a:p>
      </dgm:t>
    </dgm:pt>
    <dgm:pt modelId="{414797EB-74B4-4291-AF3E-06BCA64CF6B6}">
      <dgm:prSet custT="1"/>
      <dgm:spPr/>
      <dgm:t>
        <a:bodyPr/>
        <a:lstStyle/>
        <a:p>
          <a:r>
            <a:rPr lang="fr-FR" sz="2000" dirty="0"/>
            <a:t>Questions diverses</a:t>
          </a:r>
        </a:p>
      </dgm:t>
    </dgm:pt>
    <dgm:pt modelId="{D9EEC982-6F8E-415B-9E6B-101927331BD8}" type="parTrans" cxnId="{0281512C-E79C-4333-9D56-2A66E949228F}">
      <dgm:prSet/>
      <dgm:spPr/>
      <dgm:t>
        <a:bodyPr/>
        <a:lstStyle/>
        <a:p>
          <a:endParaRPr lang="fr-FR"/>
        </a:p>
      </dgm:t>
    </dgm:pt>
    <dgm:pt modelId="{3124CA87-5240-449D-93B8-646AA320F84C}" type="sibTrans" cxnId="{0281512C-E79C-4333-9D56-2A66E949228F}">
      <dgm:prSet/>
      <dgm:spPr/>
      <dgm:t>
        <a:bodyPr/>
        <a:lstStyle/>
        <a:p>
          <a:endParaRPr lang="fr-FR"/>
        </a:p>
      </dgm:t>
    </dgm:pt>
    <dgm:pt modelId="{08449366-2565-4365-85A6-6FD21C00BC0F}" type="pres">
      <dgm:prSet presAssocID="{F010CF21-4A6D-44EF-A02C-3D5169816247}" presName="Name0" presStyleCnt="0">
        <dgm:presLayoutVars>
          <dgm:chMax val="7"/>
          <dgm:chPref val="7"/>
          <dgm:dir/>
        </dgm:presLayoutVars>
      </dgm:prSet>
      <dgm:spPr/>
    </dgm:pt>
    <dgm:pt modelId="{43AFC4E7-46DA-4B7B-B201-0A406A05CAD2}" type="pres">
      <dgm:prSet presAssocID="{F010CF21-4A6D-44EF-A02C-3D5169816247}" presName="Name1" presStyleCnt="0"/>
      <dgm:spPr/>
    </dgm:pt>
    <dgm:pt modelId="{C89A3969-C068-41DF-977E-ED5F7B6D0CE6}" type="pres">
      <dgm:prSet presAssocID="{F010CF21-4A6D-44EF-A02C-3D5169816247}" presName="cycle" presStyleCnt="0"/>
      <dgm:spPr/>
    </dgm:pt>
    <dgm:pt modelId="{36B09AF6-20B6-459B-86E4-BA1ECCD29B61}" type="pres">
      <dgm:prSet presAssocID="{F010CF21-4A6D-44EF-A02C-3D5169816247}" presName="srcNode" presStyleLbl="node1" presStyleIdx="0" presStyleCnt="5"/>
      <dgm:spPr/>
    </dgm:pt>
    <dgm:pt modelId="{6940BDDF-1FEF-41BF-B9E9-0FFE3926A970}" type="pres">
      <dgm:prSet presAssocID="{F010CF21-4A6D-44EF-A02C-3D5169816247}" presName="conn" presStyleLbl="parChTrans1D2" presStyleIdx="0" presStyleCnt="1"/>
      <dgm:spPr/>
    </dgm:pt>
    <dgm:pt modelId="{CF948C64-B606-46D3-AF0E-5C95CC7F1D42}" type="pres">
      <dgm:prSet presAssocID="{F010CF21-4A6D-44EF-A02C-3D5169816247}" presName="extraNode" presStyleLbl="node1" presStyleIdx="0" presStyleCnt="5"/>
      <dgm:spPr/>
    </dgm:pt>
    <dgm:pt modelId="{4485BF69-EF87-4AEE-AFDF-DE2F8D2ACCD9}" type="pres">
      <dgm:prSet presAssocID="{F010CF21-4A6D-44EF-A02C-3D5169816247}" presName="dstNode" presStyleLbl="node1" presStyleIdx="0" presStyleCnt="5"/>
      <dgm:spPr/>
    </dgm:pt>
    <dgm:pt modelId="{54C74578-773C-4297-A4DE-1398F67BB91C}" type="pres">
      <dgm:prSet presAssocID="{59788018-3182-43A3-8988-94BE0745A02A}" presName="text_1" presStyleLbl="node1" presStyleIdx="0" presStyleCnt="5" custLinFactNeighborY="4204">
        <dgm:presLayoutVars>
          <dgm:bulletEnabled val="1"/>
        </dgm:presLayoutVars>
      </dgm:prSet>
      <dgm:spPr/>
    </dgm:pt>
    <dgm:pt modelId="{10D97C5B-BA88-4603-BEB8-816B9E26E1E0}" type="pres">
      <dgm:prSet presAssocID="{59788018-3182-43A3-8988-94BE0745A02A}" presName="accent_1" presStyleCnt="0"/>
      <dgm:spPr/>
    </dgm:pt>
    <dgm:pt modelId="{EBBCF617-4DDB-47D0-98C7-99413FA904B7}" type="pres">
      <dgm:prSet presAssocID="{59788018-3182-43A3-8988-94BE0745A02A}" presName="accentRepeatNode" presStyleLbl="solidFgAcc1" presStyleIdx="0" presStyleCnt="5"/>
      <dgm:spPr/>
    </dgm:pt>
    <dgm:pt modelId="{38266B62-763B-47EE-941B-BD512A93B9FC}" type="pres">
      <dgm:prSet presAssocID="{B9A48CF8-D428-45D1-8969-FBBF15BE7DBA}" presName="text_2" presStyleLbl="node1" presStyleIdx="1" presStyleCnt="5">
        <dgm:presLayoutVars>
          <dgm:bulletEnabled val="1"/>
        </dgm:presLayoutVars>
      </dgm:prSet>
      <dgm:spPr/>
    </dgm:pt>
    <dgm:pt modelId="{367B11EA-E5C1-4DED-8822-EE706D7B3490}" type="pres">
      <dgm:prSet presAssocID="{B9A48CF8-D428-45D1-8969-FBBF15BE7DBA}" presName="accent_2" presStyleCnt="0"/>
      <dgm:spPr/>
    </dgm:pt>
    <dgm:pt modelId="{7A113706-4115-4E46-A0DB-BB2E4C947383}" type="pres">
      <dgm:prSet presAssocID="{B9A48CF8-D428-45D1-8969-FBBF15BE7DBA}" presName="accentRepeatNode" presStyleLbl="solidFgAcc1" presStyleIdx="1" presStyleCnt="5"/>
      <dgm:spPr/>
    </dgm:pt>
    <dgm:pt modelId="{C44906E9-3C2F-4CD0-B0C9-498EF34769BF}" type="pres">
      <dgm:prSet presAssocID="{2950704D-F612-46DF-93DB-38562274CE0A}" presName="text_3" presStyleLbl="node1" presStyleIdx="2" presStyleCnt="5">
        <dgm:presLayoutVars>
          <dgm:bulletEnabled val="1"/>
        </dgm:presLayoutVars>
      </dgm:prSet>
      <dgm:spPr/>
    </dgm:pt>
    <dgm:pt modelId="{99431DD1-4D5B-4288-A4D7-5DDCAA9317FA}" type="pres">
      <dgm:prSet presAssocID="{2950704D-F612-46DF-93DB-38562274CE0A}" presName="accent_3" presStyleCnt="0"/>
      <dgm:spPr/>
    </dgm:pt>
    <dgm:pt modelId="{0692BF8D-B063-4580-8A2D-225A14481CCD}" type="pres">
      <dgm:prSet presAssocID="{2950704D-F612-46DF-93DB-38562274CE0A}" presName="accentRepeatNode" presStyleLbl="solidFgAcc1" presStyleIdx="2" presStyleCnt="5"/>
      <dgm:spPr/>
    </dgm:pt>
    <dgm:pt modelId="{985C842E-3771-4A21-BC8F-6664E8E4209A}" type="pres">
      <dgm:prSet presAssocID="{445F633E-575C-4AF5-92DD-A71CC7C927A2}" presName="text_4" presStyleLbl="node1" presStyleIdx="3" presStyleCnt="5">
        <dgm:presLayoutVars>
          <dgm:bulletEnabled val="1"/>
        </dgm:presLayoutVars>
      </dgm:prSet>
      <dgm:spPr/>
    </dgm:pt>
    <dgm:pt modelId="{9DF189B9-2AF4-4537-8488-D9604CD8D7C6}" type="pres">
      <dgm:prSet presAssocID="{445F633E-575C-4AF5-92DD-A71CC7C927A2}" presName="accent_4" presStyleCnt="0"/>
      <dgm:spPr/>
    </dgm:pt>
    <dgm:pt modelId="{1CAC461D-769E-43F1-85D8-A86E37EE9368}" type="pres">
      <dgm:prSet presAssocID="{445F633E-575C-4AF5-92DD-A71CC7C927A2}" presName="accentRepeatNode" presStyleLbl="solidFgAcc1" presStyleIdx="3" presStyleCnt="5"/>
      <dgm:spPr/>
    </dgm:pt>
    <dgm:pt modelId="{E94408CD-EF85-4774-BA53-A3DB7D3C1F4C}" type="pres">
      <dgm:prSet presAssocID="{414797EB-74B4-4291-AF3E-06BCA64CF6B6}" presName="text_5" presStyleLbl="node1" presStyleIdx="4" presStyleCnt="5">
        <dgm:presLayoutVars>
          <dgm:bulletEnabled val="1"/>
        </dgm:presLayoutVars>
      </dgm:prSet>
      <dgm:spPr/>
    </dgm:pt>
    <dgm:pt modelId="{084B543F-777C-44B7-8089-181F52D7D6B4}" type="pres">
      <dgm:prSet presAssocID="{414797EB-74B4-4291-AF3E-06BCA64CF6B6}" presName="accent_5" presStyleCnt="0"/>
      <dgm:spPr/>
    </dgm:pt>
    <dgm:pt modelId="{5AF5E7EE-A04D-40FC-8300-CF20EEE80831}" type="pres">
      <dgm:prSet presAssocID="{414797EB-74B4-4291-AF3E-06BCA64CF6B6}" presName="accentRepeatNode" presStyleLbl="solidFgAcc1" presStyleIdx="4" presStyleCnt="5"/>
      <dgm:spPr/>
    </dgm:pt>
  </dgm:ptLst>
  <dgm:cxnLst>
    <dgm:cxn modelId="{241DD71D-5288-427D-8977-3C2125195ABF}" type="presOf" srcId="{2950704D-F612-46DF-93DB-38562274CE0A}" destId="{C44906E9-3C2F-4CD0-B0C9-498EF34769BF}" srcOrd="0" destOrd="0" presId="urn:microsoft.com/office/officeart/2008/layout/VerticalCurvedList"/>
    <dgm:cxn modelId="{526ECF28-3CAD-4D93-A271-BA130FC38A40}" srcId="{F010CF21-4A6D-44EF-A02C-3D5169816247}" destId="{B9A48CF8-D428-45D1-8969-FBBF15BE7DBA}" srcOrd="1" destOrd="0" parTransId="{A0CD69F9-CCD9-494F-8BAA-E371C16384F0}" sibTransId="{51D165D4-3F2F-4577-B999-E3D44DF8CE25}"/>
    <dgm:cxn modelId="{0281512C-E79C-4333-9D56-2A66E949228F}" srcId="{F010CF21-4A6D-44EF-A02C-3D5169816247}" destId="{414797EB-74B4-4291-AF3E-06BCA64CF6B6}" srcOrd="4" destOrd="0" parTransId="{D9EEC982-6F8E-415B-9E6B-101927331BD8}" sibTransId="{3124CA87-5240-449D-93B8-646AA320F84C}"/>
    <dgm:cxn modelId="{10C8B034-59B8-4A7B-BB37-6397972DA53F}" srcId="{F010CF21-4A6D-44EF-A02C-3D5169816247}" destId="{445F633E-575C-4AF5-92DD-A71CC7C927A2}" srcOrd="3" destOrd="0" parTransId="{78170A6E-C864-4525-99F0-764BDD069F7D}" sibTransId="{6DCA3502-1D36-4058-961B-A2DA94F7B6BD}"/>
    <dgm:cxn modelId="{6E4F5F35-0D7E-4E4D-AA5C-4E66D655145A}" type="presOf" srcId="{59788018-3182-43A3-8988-94BE0745A02A}" destId="{54C74578-773C-4297-A4DE-1398F67BB91C}" srcOrd="0" destOrd="0" presId="urn:microsoft.com/office/officeart/2008/layout/VerticalCurvedList"/>
    <dgm:cxn modelId="{D6801738-0EB3-407B-AD75-D97DFCA32239}" type="presOf" srcId="{445F633E-575C-4AF5-92DD-A71CC7C927A2}" destId="{985C842E-3771-4A21-BC8F-6664E8E4209A}" srcOrd="0" destOrd="0" presId="urn:microsoft.com/office/officeart/2008/layout/VerticalCurvedList"/>
    <dgm:cxn modelId="{2E88A469-91F1-4756-A449-0C6B21CED5FB}" type="presOf" srcId="{414797EB-74B4-4291-AF3E-06BCA64CF6B6}" destId="{E94408CD-EF85-4774-BA53-A3DB7D3C1F4C}" srcOrd="0" destOrd="0" presId="urn:microsoft.com/office/officeart/2008/layout/VerticalCurvedList"/>
    <dgm:cxn modelId="{47274B98-A3F8-B44A-8BC9-F42C0F4148D8}" type="presOf" srcId="{F010CF21-4A6D-44EF-A02C-3D5169816247}" destId="{08449366-2565-4365-85A6-6FD21C00BC0F}" srcOrd="0" destOrd="0" presId="urn:microsoft.com/office/officeart/2008/layout/VerticalCurvedList"/>
    <dgm:cxn modelId="{2BBCFF9A-EEFC-44B4-BC2D-134082FEEEF5}" type="presOf" srcId="{B9A48CF8-D428-45D1-8969-FBBF15BE7DBA}" destId="{38266B62-763B-47EE-941B-BD512A93B9FC}" srcOrd="0" destOrd="0" presId="urn:microsoft.com/office/officeart/2008/layout/VerticalCurvedList"/>
    <dgm:cxn modelId="{75BC15D3-E58B-4B5A-AEB7-3CE02EFD8705}" srcId="{F010CF21-4A6D-44EF-A02C-3D5169816247}" destId="{2950704D-F612-46DF-93DB-38562274CE0A}" srcOrd="2" destOrd="0" parTransId="{987F1677-1426-4E16-870E-56D0BC663F9B}" sibTransId="{83820126-CD9B-4B36-913F-47587C72FAFD}"/>
    <dgm:cxn modelId="{127426EF-8ACA-4C2A-9DCA-089579810FA4}" srcId="{F010CF21-4A6D-44EF-A02C-3D5169816247}" destId="{59788018-3182-43A3-8988-94BE0745A02A}" srcOrd="0" destOrd="0" parTransId="{0F449731-D9A8-453B-9CCE-25DFB8DF4287}" sibTransId="{F562CD0B-E8EB-4DBC-82FD-4F9ECF32E366}"/>
    <dgm:cxn modelId="{4BA219F5-DF5C-4A5A-8AD1-3305123A52BE}" type="presOf" srcId="{F562CD0B-E8EB-4DBC-82FD-4F9ECF32E366}" destId="{6940BDDF-1FEF-41BF-B9E9-0FFE3926A970}" srcOrd="0" destOrd="0" presId="urn:microsoft.com/office/officeart/2008/layout/VerticalCurvedList"/>
    <dgm:cxn modelId="{F061383E-55BE-644A-A054-B1BF76BC8A37}" type="presParOf" srcId="{08449366-2565-4365-85A6-6FD21C00BC0F}" destId="{43AFC4E7-46DA-4B7B-B201-0A406A05CAD2}" srcOrd="0" destOrd="0" presId="urn:microsoft.com/office/officeart/2008/layout/VerticalCurvedList"/>
    <dgm:cxn modelId="{6FF298EC-3580-F74F-90AB-72DC7E516CCF}" type="presParOf" srcId="{43AFC4E7-46DA-4B7B-B201-0A406A05CAD2}" destId="{C89A3969-C068-41DF-977E-ED5F7B6D0CE6}" srcOrd="0" destOrd="0" presId="urn:microsoft.com/office/officeart/2008/layout/VerticalCurvedList"/>
    <dgm:cxn modelId="{6729A3F8-BF06-514A-A444-B514AEEB00A8}" type="presParOf" srcId="{C89A3969-C068-41DF-977E-ED5F7B6D0CE6}" destId="{36B09AF6-20B6-459B-86E4-BA1ECCD29B61}" srcOrd="0" destOrd="0" presId="urn:microsoft.com/office/officeart/2008/layout/VerticalCurvedList"/>
    <dgm:cxn modelId="{6C2E9B69-AF8F-0148-8C74-F9F8288240F7}" type="presParOf" srcId="{C89A3969-C068-41DF-977E-ED5F7B6D0CE6}" destId="{6940BDDF-1FEF-41BF-B9E9-0FFE3926A970}" srcOrd="1" destOrd="0" presId="urn:microsoft.com/office/officeart/2008/layout/VerticalCurvedList"/>
    <dgm:cxn modelId="{D58DB0B2-11A2-5844-A5D6-88E4BC01A3D0}" type="presParOf" srcId="{C89A3969-C068-41DF-977E-ED5F7B6D0CE6}" destId="{CF948C64-B606-46D3-AF0E-5C95CC7F1D42}" srcOrd="2" destOrd="0" presId="urn:microsoft.com/office/officeart/2008/layout/VerticalCurvedList"/>
    <dgm:cxn modelId="{10696313-D083-2948-A140-15A5E3037090}" type="presParOf" srcId="{C89A3969-C068-41DF-977E-ED5F7B6D0CE6}" destId="{4485BF69-EF87-4AEE-AFDF-DE2F8D2ACCD9}" srcOrd="3" destOrd="0" presId="urn:microsoft.com/office/officeart/2008/layout/VerticalCurvedList"/>
    <dgm:cxn modelId="{3EED48A1-A558-C845-AADB-967072A92846}" type="presParOf" srcId="{43AFC4E7-46DA-4B7B-B201-0A406A05CAD2}" destId="{54C74578-773C-4297-A4DE-1398F67BB91C}" srcOrd="1" destOrd="0" presId="urn:microsoft.com/office/officeart/2008/layout/VerticalCurvedList"/>
    <dgm:cxn modelId="{482CF146-0D09-4849-B4E1-DC9831F36C1D}" type="presParOf" srcId="{43AFC4E7-46DA-4B7B-B201-0A406A05CAD2}" destId="{10D97C5B-BA88-4603-BEB8-816B9E26E1E0}" srcOrd="2" destOrd="0" presId="urn:microsoft.com/office/officeart/2008/layout/VerticalCurvedList"/>
    <dgm:cxn modelId="{76B9516D-0F20-FC4F-9CC0-824395ED95BC}" type="presParOf" srcId="{10D97C5B-BA88-4603-BEB8-816B9E26E1E0}" destId="{EBBCF617-4DDB-47D0-98C7-99413FA904B7}" srcOrd="0" destOrd="0" presId="urn:microsoft.com/office/officeart/2008/layout/VerticalCurvedList"/>
    <dgm:cxn modelId="{4EBF105E-81B6-4CB9-A83D-BADB4A1F3F6B}" type="presParOf" srcId="{43AFC4E7-46DA-4B7B-B201-0A406A05CAD2}" destId="{38266B62-763B-47EE-941B-BD512A93B9FC}" srcOrd="3" destOrd="0" presId="urn:microsoft.com/office/officeart/2008/layout/VerticalCurvedList"/>
    <dgm:cxn modelId="{ED363BF9-440F-435E-962C-A9C35F49A344}" type="presParOf" srcId="{43AFC4E7-46DA-4B7B-B201-0A406A05CAD2}" destId="{367B11EA-E5C1-4DED-8822-EE706D7B3490}" srcOrd="4" destOrd="0" presId="urn:microsoft.com/office/officeart/2008/layout/VerticalCurvedList"/>
    <dgm:cxn modelId="{3B005B22-F7CF-4BF5-9BB2-3FDAE20603B7}" type="presParOf" srcId="{367B11EA-E5C1-4DED-8822-EE706D7B3490}" destId="{7A113706-4115-4E46-A0DB-BB2E4C947383}" srcOrd="0" destOrd="0" presId="urn:microsoft.com/office/officeart/2008/layout/VerticalCurvedList"/>
    <dgm:cxn modelId="{B386FED0-5C5D-4D92-B6E3-ACD3BEC12D80}" type="presParOf" srcId="{43AFC4E7-46DA-4B7B-B201-0A406A05CAD2}" destId="{C44906E9-3C2F-4CD0-B0C9-498EF34769BF}" srcOrd="5" destOrd="0" presId="urn:microsoft.com/office/officeart/2008/layout/VerticalCurvedList"/>
    <dgm:cxn modelId="{DFEAE827-D2D2-42C0-98C4-B000CAB27FA2}" type="presParOf" srcId="{43AFC4E7-46DA-4B7B-B201-0A406A05CAD2}" destId="{99431DD1-4D5B-4288-A4D7-5DDCAA9317FA}" srcOrd="6" destOrd="0" presId="urn:microsoft.com/office/officeart/2008/layout/VerticalCurvedList"/>
    <dgm:cxn modelId="{06B8C854-316E-4EB4-BB52-E05E356F9592}" type="presParOf" srcId="{99431DD1-4D5B-4288-A4D7-5DDCAA9317FA}" destId="{0692BF8D-B063-4580-8A2D-225A14481CCD}" srcOrd="0" destOrd="0" presId="urn:microsoft.com/office/officeart/2008/layout/VerticalCurvedList"/>
    <dgm:cxn modelId="{881BBE41-FEDF-45D1-AD76-115D6A351C41}" type="presParOf" srcId="{43AFC4E7-46DA-4B7B-B201-0A406A05CAD2}" destId="{985C842E-3771-4A21-BC8F-6664E8E4209A}" srcOrd="7" destOrd="0" presId="urn:microsoft.com/office/officeart/2008/layout/VerticalCurvedList"/>
    <dgm:cxn modelId="{E9181451-AE84-4879-8081-53EEDAD249C1}" type="presParOf" srcId="{43AFC4E7-46DA-4B7B-B201-0A406A05CAD2}" destId="{9DF189B9-2AF4-4537-8488-D9604CD8D7C6}" srcOrd="8" destOrd="0" presId="urn:microsoft.com/office/officeart/2008/layout/VerticalCurvedList"/>
    <dgm:cxn modelId="{675284D5-7F6B-4E16-9B16-3416C5C07E60}" type="presParOf" srcId="{9DF189B9-2AF4-4537-8488-D9604CD8D7C6}" destId="{1CAC461D-769E-43F1-85D8-A86E37EE9368}" srcOrd="0" destOrd="0" presId="urn:microsoft.com/office/officeart/2008/layout/VerticalCurvedList"/>
    <dgm:cxn modelId="{0916922B-2E54-4986-9739-4D5C363FCDE6}" type="presParOf" srcId="{43AFC4E7-46DA-4B7B-B201-0A406A05CAD2}" destId="{E94408CD-EF85-4774-BA53-A3DB7D3C1F4C}" srcOrd="9" destOrd="0" presId="urn:microsoft.com/office/officeart/2008/layout/VerticalCurvedList"/>
    <dgm:cxn modelId="{DCE6FD2A-03BB-4280-AC64-DC7A4D8AA307}" type="presParOf" srcId="{43AFC4E7-46DA-4B7B-B201-0A406A05CAD2}" destId="{084B543F-777C-44B7-8089-181F52D7D6B4}" srcOrd="10" destOrd="0" presId="urn:microsoft.com/office/officeart/2008/layout/VerticalCurvedList"/>
    <dgm:cxn modelId="{71EF4550-A211-4E4D-91C4-D49A790C2D7D}" type="presParOf" srcId="{084B543F-777C-44B7-8089-181F52D7D6B4}" destId="{5AF5E7EE-A04D-40FC-8300-CF20EEE80831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DDC6C26B-5C44-4280-9EB3-068FD976E089}" type="doc">
      <dgm:prSet loTypeId="urn:microsoft.com/office/officeart/2005/8/layout/cycle6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96DE3086-D6B2-489F-AF48-8912E4EC9D72}">
      <dgm:prSet phldrT="[Texte]" custT="1"/>
      <dgm:spPr>
        <a:solidFill>
          <a:schemeClr val="tx2">
            <a:lumMod val="20000"/>
            <a:lumOff val="80000"/>
          </a:schemeClr>
        </a:solidFill>
      </dgm:spPr>
      <dgm:t>
        <a:bodyPr/>
        <a:lstStyle/>
        <a:p>
          <a:r>
            <a:rPr lang="fr-FR" sz="2400" dirty="0">
              <a:solidFill>
                <a:schemeClr val="tx1"/>
              </a:solidFill>
            </a:rPr>
            <a:t>Elus d’HERBLAY</a:t>
          </a:r>
        </a:p>
      </dgm:t>
    </dgm:pt>
    <dgm:pt modelId="{518E41D5-5D2B-48D8-8E50-947DB28AEA31}" type="parTrans" cxnId="{70917F5B-0E35-4A2A-88D5-B45EBFE53C87}">
      <dgm:prSet/>
      <dgm:spPr/>
      <dgm:t>
        <a:bodyPr/>
        <a:lstStyle/>
        <a:p>
          <a:endParaRPr lang="fr-FR" sz="2800"/>
        </a:p>
      </dgm:t>
    </dgm:pt>
    <dgm:pt modelId="{0DB38E35-C61B-4A48-A372-8FCB75FC5BF9}" type="sibTrans" cxnId="{70917F5B-0E35-4A2A-88D5-B45EBFE53C87}">
      <dgm:prSet/>
      <dgm:spPr/>
      <dgm:t>
        <a:bodyPr/>
        <a:lstStyle/>
        <a:p>
          <a:endParaRPr lang="fr-FR" sz="2800"/>
        </a:p>
      </dgm:t>
    </dgm:pt>
    <dgm:pt modelId="{E7A6D2EE-2FCB-4C10-9D9D-5E61B8C49FEA}">
      <dgm:prSet phldrT="[Texte]" custT="1"/>
      <dgm:spPr>
        <a:solidFill>
          <a:schemeClr val="accent4">
            <a:lumMod val="40000"/>
            <a:lumOff val="60000"/>
          </a:schemeClr>
        </a:solidFill>
      </dgm:spPr>
      <dgm:t>
        <a:bodyPr/>
        <a:lstStyle/>
        <a:p>
          <a:r>
            <a:rPr lang="fr-FR" sz="2400" dirty="0">
              <a:solidFill>
                <a:schemeClr val="tx1"/>
              </a:solidFill>
            </a:rPr>
            <a:t>Services de la Ville</a:t>
          </a:r>
        </a:p>
      </dgm:t>
    </dgm:pt>
    <dgm:pt modelId="{BBD1B47A-8210-403D-BF33-68BE3F794F6C}" type="parTrans" cxnId="{D445F18D-47F2-42BB-8B52-64A8552A8B9C}">
      <dgm:prSet/>
      <dgm:spPr/>
      <dgm:t>
        <a:bodyPr/>
        <a:lstStyle/>
        <a:p>
          <a:endParaRPr lang="fr-FR" sz="2800"/>
        </a:p>
      </dgm:t>
    </dgm:pt>
    <dgm:pt modelId="{72B07F42-027A-4A6E-B634-2079767EC72A}" type="sibTrans" cxnId="{D445F18D-47F2-42BB-8B52-64A8552A8B9C}">
      <dgm:prSet/>
      <dgm:spPr/>
      <dgm:t>
        <a:bodyPr/>
        <a:lstStyle/>
        <a:p>
          <a:endParaRPr lang="fr-FR" sz="2800"/>
        </a:p>
      </dgm:t>
    </dgm:pt>
    <dgm:pt modelId="{12779662-B3F8-4710-ADEE-2BEA2DF93632}">
      <dgm:prSet phldrT="[Texte]" custT="1"/>
      <dgm:spPr>
        <a:solidFill>
          <a:srgbClr val="FF0000"/>
        </a:solidFill>
      </dgm:spPr>
      <dgm:t>
        <a:bodyPr/>
        <a:lstStyle/>
        <a:p>
          <a:r>
            <a:rPr lang="fr-FR" sz="2400" b="0" dirty="0">
              <a:solidFill>
                <a:schemeClr val="tx1"/>
              </a:solidFill>
            </a:rPr>
            <a:t>Adhérents et leurs Parents</a:t>
          </a:r>
        </a:p>
      </dgm:t>
    </dgm:pt>
    <dgm:pt modelId="{D4F53988-095A-4099-876F-C0E3C417E2EE}" type="parTrans" cxnId="{5A588D24-8742-462B-832A-01DBF8789EEB}">
      <dgm:prSet/>
      <dgm:spPr/>
      <dgm:t>
        <a:bodyPr/>
        <a:lstStyle/>
        <a:p>
          <a:endParaRPr lang="fr-FR" sz="2800"/>
        </a:p>
      </dgm:t>
    </dgm:pt>
    <dgm:pt modelId="{3C5701BA-391C-4E91-B535-08C709BB89B9}" type="sibTrans" cxnId="{5A588D24-8742-462B-832A-01DBF8789EEB}">
      <dgm:prSet/>
      <dgm:spPr/>
      <dgm:t>
        <a:bodyPr/>
        <a:lstStyle/>
        <a:p>
          <a:endParaRPr lang="fr-FR" sz="2800"/>
        </a:p>
      </dgm:t>
    </dgm:pt>
    <dgm:pt modelId="{736A51FE-E49C-4364-B07D-F2DCF4CCE02A}">
      <dgm:prSet phldrT="[Texte]" custT="1"/>
      <dgm:spPr>
        <a:solidFill>
          <a:srgbClr val="FA7D7D"/>
        </a:solidFill>
      </dgm:spPr>
      <dgm:t>
        <a:bodyPr/>
        <a:lstStyle/>
        <a:p>
          <a:r>
            <a:rPr lang="fr-FR" sz="2400" b="0" dirty="0">
              <a:solidFill>
                <a:schemeClr val="tx1"/>
              </a:solidFill>
            </a:rPr>
            <a:t>Bénévoles</a:t>
          </a:r>
        </a:p>
      </dgm:t>
    </dgm:pt>
    <dgm:pt modelId="{9BD0F94A-E92D-4CFC-86E9-336B2726AA72}" type="parTrans" cxnId="{49D361BB-904D-4A63-A864-A0BB629E1680}">
      <dgm:prSet/>
      <dgm:spPr/>
      <dgm:t>
        <a:bodyPr/>
        <a:lstStyle/>
        <a:p>
          <a:endParaRPr lang="fr-FR" sz="2800"/>
        </a:p>
      </dgm:t>
    </dgm:pt>
    <dgm:pt modelId="{EBA875C8-72DE-4222-8785-4A7F700EC9EB}" type="sibTrans" cxnId="{49D361BB-904D-4A63-A864-A0BB629E1680}">
      <dgm:prSet/>
      <dgm:spPr/>
      <dgm:t>
        <a:bodyPr/>
        <a:lstStyle/>
        <a:p>
          <a:endParaRPr lang="fr-FR" sz="2800"/>
        </a:p>
      </dgm:t>
    </dgm:pt>
    <dgm:pt modelId="{39CCAA7F-6CDD-4354-BD99-351D389C805C}">
      <dgm:prSet phldrT="[Texte]" custT="1"/>
      <dgm:spPr>
        <a:solidFill>
          <a:srgbClr val="92D050"/>
        </a:solidFill>
      </dgm:spPr>
      <dgm:t>
        <a:bodyPr/>
        <a:lstStyle/>
        <a:p>
          <a:r>
            <a:rPr lang="fr-FR" sz="2400" dirty="0">
              <a:solidFill>
                <a:schemeClr val="tx1"/>
              </a:solidFill>
            </a:rPr>
            <a:t>Entraineurs</a:t>
          </a:r>
        </a:p>
      </dgm:t>
    </dgm:pt>
    <dgm:pt modelId="{088D8D5D-7351-46EE-B165-94AFAEBC488B}" type="parTrans" cxnId="{42911385-04BA-4C71-B49F-D88C4269E79D}">
      <dgm:prSet/>
      <dgm:spPr/>
      <dgm:t>
        <a:bodyPr/>
        <a:lstStyle/>
        <a:p>
          <a:endParaRPr lang="fr-FR" sz="2800"/>
        </a:p>
      </dgm:t>
    </dgm:pt>
    <dgm:pt modelId="{E8963229-82B5-49B6-B512-D8E2E27F30DF}" type="sibTrans" cxnId="{42911385-04BA-4C71-B49F-D88C4269E79D}">
      <dgm:prSet/>
      <dgm:spPr/>
      <dgm:t>
        <a:bodyPr/>
        <a:lstStyle/>
        <a:p>
          <a:endParaRPr lang="fr-FR" sz="2800"/>
        </a:p>
      </dgm:t>
    </dgm:pt>
    <dgm:pt modelId="{54FD7199-B395-4937-BD68-E4F9BC35B2BC}" type="pres">
      <dgm:prSet presAssocID="{DDC6C26B-5C44-4280-9EB3-068FD976E089}" presName="cycle" presStyleCnt="0">
        <dgm:presLayoutVars>
          <dgm:dir/>
          <dgm:resizeHandles val="exact"/>
        </dgm:presLayoutVars>
      </dgm:prSet>
      <dgm:spPr/>
    </dgm:pt>
    <dgm:pt modelId="{D644DDD9-B6F8-4655-8D8B-43C9D6CB8B31}" type="pres">
      <dgm:prSet presAssocID="{96DE3086-D6B2-489F-AF48-8912E4EC9D72}" presName="node" presStyleLbl="node1" presStyleIdx="0" presStyleCnt="5" custScaleX="128922" custScaleY="87089" custRadScaleRad="101992" custRadScaleInc="-5162">
        <dgm:presLayoutVars>
          <dgm:bulletEnabled val="1"/>
        </dgm:presLayoutVars>
      </dgm:prSet>
      <dgm:spPr/>
    </dgm:pt>
    <dgm:pt modelId="{0630CB0D-5484-48AC-974A-7422A6AC5BE4}" type="pres">
      <dgm:prSet presAssocID="{96DE3086-D6B2-489F-AF48-8912E4EC9D72}" presName="spNode" presStyleCnt="0"/>
      <dgm:spPr/>
    </dgm:pt>
    <dgm:pt modelId="{6AC8799C-ECCB-4A46-BF36-CC5BC71CC2D7}" type="pres">
      <dgm:prSet presAssocID="{0DB38E35-C61B-4A48-A372-8FCB75FC5BF9}" presName="sibTrans" presStyleLbl="sibTrans1D1" presStyleIdx="0" presStyleCnt="5"/>
      <dgm:spPr/>
    </dgm:pt>
    <dgm:pt modelId="{3E5D2AD9-4686-49B8-B72A-27931EEEC98A}" type="pres">
      <dgm:prSet presAssocID="{E7A6D2EE-2FCB-4C10-9D9D-5E61B8C49FEA}" presName="node" presStyleLbl="node1" presStyleIdx="1" presStyleCnt="5" custScaleX="121155" custScaleY="82117">
        <dgm:presLayoutVars>
          <dgm:bulletEnabled val="1"/>
        </dgm:presLayoutVars>
      </dgm:prSet>
      <dgm:spPr/>
    </dgm:pt>
    <dgm:pt modelId="{C4B0552B-2F5D-4824-9E58-DB9788997F5F}" type="pres">
      <dgm:prSet presAssocID="{E7A6D2EE-2FCB-4C10-9D9D-5E61B8C49FEA}" presName="spNode" presStyleCnt="0"/>
      <dgm:spPr/>
    </dgm:pt>
    <dgm:pt modelId="{51A1BF9F-D5BC-4532-A20E-C97178709D63}" type="pres">
      <dgm:prSet presAssocID="{72B07F42-027A-4A6E-B634-2079767EC72A}" presName="sibTrans" presStyleLbl="sibTrans1D1" presStyleIdx="1" presStyleCnt="5"/>
      <dgm:spPr/>
    </dgm:pt>
    <dgm:pt modelId="{BF2620E6-571C-4256-A0DD-CC7C9B162EE7}" type="pres">
      <dgm:prSet presAssocID="{12779662-B3F8-4710-ADEE-2BEA2DF93632}" presName="node" presStyleLbl="node1" presStyleIdx="2" presStyleCnt="5" custScaleX="108839" custScaleY="52028" custRadScaleRad="107386" custRadScaleInc="2779">
        <dgm:presLayoutVars>
          <dgm:bulletEnabled val="1"/>
        </dgm:presLayoutVars>
      </dgm:prSet>
      <dgm:spPr/>
    </dgm:pt>
    <dgm:pt modelId="{5699870B-CD9B-4443-A7E1-C210A6347CB8}" type="pres">
      <dgm:prSet presAssocID="{12779662-B3F8-4710-ADEE-2BEA2DF93632}" presName="spNode" presStyleCnt="0"/>
      <dgm:spPr/>
    </dgm:pt>
    <dgm:pt modelId="{324CD12F-8702-4DB9-8B3A-D36E9C436545}" type="pres">
      <dgm:prSet presAssocID="{3C5701BA-391C-4E91-B535-08C709BB89B9}" presName="sibTrans" presStyleLbl="sibTrans1D1" presStyleIdx="2" presStyleCnt="5"/>
      <dgm:spPr/>
    </dgm:pt>
    <dgm:pt modelId="{80F3756C-447B-44FC-A73B-DF4F06606C29}" type="pres">
      <dgm:prSet presAssocID="{736A51FE-E49C-4364-B07D-F2DCF4CCE02A}" presName="node" presStyleLbl="node1" presStyleIdx="3" presStyleCnt="5" custScaleX="100251" custScaleY="70237" custRadScaleRad="108015" custRadScaleInc="22903">
        <dgm:presLayoutVars>
          <dgm:bulletEnabled val="1"/>
        </dgm:presLayoutVars>
      </dgm:prSet>
      <dgm:spPr/>
    </dgm:pt>
    <dgm:pt modelId="{1A892405-AF7C-4407-9E46-BC7586A9107A}" type="pres">
      <dgm:prSet presAssocID="{736A51FE-E49C-4364-B07D-F2DCF4CCE02A}" presName="spNode" presStyleCnt="0"/>
      <dgm:spPr/>
    </dgm:pt>
    <dgm:pt modelId="{98311ED8-5FE3-4118-B5BA-55D1B809ACD1}" type="pres">
      <dgm:prSet presAssocID="{EBA875C8-72DE-4222-8785-4A7F700EC9EB}" presName="sibTrans" presStyleLbl="sibTrans1D1" presStyleIdx="3" presStyleCnt="5"/>
      <dgm:spPr/>
    </dgm:pt>
    <dgm:pt modelId="{9EAF265E-4870-4BF1-B3C9-FE4520B01D93}" type="pres">
      <dgm:prSet presAssocID="{39CCAA7F-6CDD-4354-BD99-351D389C805C}" presName="node" presStyleLbl="node1" presStyleIdx="4" presStyleCnt="5" custScaleX="102617" custScaleY="72313" custRadScaleRad="100797" custRadScaleInc="3404">
        <dgm:presLayoutVars>
          <dgm:bulletEnabled val="1"/>
        </dgm:presLayoutVars>
      </dgm:prSet>
      <dgm:spPr/>
    </dgm:pt>
    <dgm:pt modelId="{10CF3F03-CC1D-42F7-91C3-4C8A15DB21EF}" type="pres">
      <dgm:prSet presAssocID="{39CCAA7F-6CDD-4354-BD99-351D389C805C}" presName="spNode" presStyleCnt="0"/>
      <dgm:spPr/>
    </dgm:pt>
    <dgm:pt modelId="{CEE12626-E5FE-44D1-A6FA-1003EBC65203}" type="pres">
      <dgm:prSet presAssocID="{E8963229-82B5-49B6-B512-D8E2E27F30DF}" presName="sibTrans" presStyleLbl="sibTrans1D1" presStyleIdx="4" presStyleCnt="5"/>
      <dgm:spPr/>
    </dgm:pt>
  </dgm:ptLst>
  <dgm:cxnLst>
    <dgm:cxn modelId="{5A588D24-8742-462B-832A-01DBF8789EEB}" srcId="{DDC6C26B-5C44-4280-9EB3-068FD976E089}" destId="{12779662-B3F8-4710-ADEE-2BEA2DF93632}" srcOrd="2" destOrd="0" parTransId="{D4F53988-095A-4099-876F-C0E3C417E2EE}" sibTransId="{3C5701BA-391C-4E91-B535-08C709BB89B9}"/>
    <dgm:cxn modelId="{36E9852F-760D-4879-BA21-65CFB3291208}" type="presOf" srcId="{39CCAA7F-6CDD-4354-BD99-351D389C805C}" destId="{9EAF265E-4870-4BF1-B3C9-FE4520B01D93}" srcOrd="0" destOrd="0" presId="urn:microsoft.com/office/officeart/2005/8/layout/cycle6"/>
    <dgm:cxn modelId="{0D1D7338-7175-4B27-835C-EA9A2F427A20}" type="presOf" srcId="{72B07F42-027A-4A6E-B634-2079767EC72A}" destId="{51A1BF9F-D5BC-4532-A20E-C97178709D63}" srcOrd="0" destOrd="0" presId="urn:microsoft.com/office/officeart/2005/8/layout/cycle6"/>
    <dgm:cxn modelId="{70917F5B-0E35-4A2A-88D5-B45EBFE53C87}" srcId="{DDC6C26B-5C44-4280-9EB3-068FD976E089}" destId="{96DE3086-D6B2-489F-AF48-8912E4EC9D72}" srcOrd="0" destOrd="0" parTransId="{518E41D5-5D2B-48D8-8E50-947DB28AEA31}" sibTransId="{0DB38E35-C61B-4A48-A372-8FCB75FC5BF9}"/>
    <dgm:cxn modelId="{50F4AC5D-856B-450E-92ED-DBAC53E603B0}" type="presOf" srcId="{736A51FE-E49C-4364-B07D-F2DCF4CCE02A}" destId="{80F3756C-447B-44FC-A73B-DF4F06606C29}" srcOrd="0" destOrd="0" presId="urn:microsoft.com/office/officeart/2005/8/layout/cycle6"/>
    <dgm:cxn modelId="{B8EFA342-0827-4378-A3BF-BCA34B9FD6C7}" type="presOf" srcId="{DDC6C26B-5C44-4280-9EB3-068FD976E089}" destId="{54FD7199-B395-4937-BD68-E4F9BC35B2BC}" srcOrd="0" destOrd="0" presId="urn:microsoft.com/office/officeart/2005/8/layout/cycle6"/>
    <dgm:cxn modelId="{3DD7CE7B-9F52-449A-A70B-A1A8785BFDC0}" type="presOf" srcId="{12779662-B3F8-4710-ADEE-2BEA2DF93632}" destId="{BF2620E6-571C-4256-A0DD-CC7C9B162EE7}" srcOrd="0" destOrd="0" presId="urn:microsoft.com/office/officeart/2005/8/layout/cycle6"/>
    <dgm:cxn modelId="{42911385-04BA-4C71-B49F-D88C4269E79D}" srcId="{DDC6C26B-5C44-4280-9EB3-068FD976E089}" destId="{39CCAA7F-6CDD-4354-BD99-351D389C805C}" srcOrd="4" destOrd="0" parTransId="{088D8D5D-7351-46EE-B165-94AFAEBC488B}" sibTransId="{E8963229-82B5-49B6-B512-D8E2E27F30DF}"/>
    <dgm:cxn modelId="{D445F18D-47F2-42BB-8B52-64A8552A8B9C}" srcId="{DDC6C26B-5C44-4280-9EB3-068FD976E089}" destId="{E7A6D2EE-2FCB-4C10-9D9D-5E61B8C49FEA}" srcOrd="1" destOrd="0" parTransId="{BBD1B47A-8210-403D-BF33-68BE3F794F6C}" sibTransId="{72B07F42-027A-4A6E-B634-2079767EC72A}"/>
    <dgm:cxn modelId="{4AC64EB1-31AC-4A61-9E6F-A1699BF23627}" type="presOf" srcId="{EBA875C8-72DE-4222-8785-4A7F700EC9EB}" destId="{98311ED8-5FE3-4118-B5BA-55D1B809ACD1}" srcOrd="0" destOrd="0" presId="urn:microsoft.com/office/officeart/2005/8/layout/cycle6"/>
    <dgm:cxn modelId="{49D361BB-904D-4A63-A864-A0BB629E1680}" srcId="{DDC6C26B-5C44-4280-9EB3-068FD976E089}" destId="{736A51FE-E49C-4364-B07D-F2DCF4CCE02A}" srcOrd="3" destOrd="0" parTransId="{9BD0F94A-E92D-4CFC-86E9-336B2726AA72}" sibTransId="{EBA875C8-72DE-4222-8785-4A7F700EC9EB}"/>
    <dgm:cxn modelId="{F6E4B6BD-ED47-4286-A6B3-43B96F53B182}" type="presOf" srcId="{3C5701BA-391C-4E91-B535-08C709BB89B9}" destId="{324CD12F-8702-4DB9-8B3A-D36E9C436545}" srcOrd="0" destOrd="0" presId="urn:microsoft.com/office/officeart/2005/8/layout/cycle6"/>
    <dgm:cxn modelId="{9CEE18CD-D4B4-4018-93E8-A6883CD23CEB}" type="presOf" srcId="{E8963229-82B5-49B6-B512-D8E2E27F30DF}" destId="{CEE12626-E5FE-44D1-A6FA-1003EBC65203}" srcOrd="0" destOrd="0" presId="urn:microsoft.com/office/officeart/2005/8/layout/cycle6"/>
    <dgm:cxn modelId="{E4ACB6CF-9AA6-48CF-8DE5-1F7032095B56}" type="presOf" srcId="{0DB38E35-C61B-4A48-A372-8FCB75FC5BF9}" destId="{6AC8799C-ECCB-4A46-BF36-CC5BC71CC2D7}" srcOrd="0" destOrd="0" presId="urn:microsoft.com/office/officeart/2005/8/layout/cycle6"/>
    <dgm:cxn modelId="{6BED1BD3-2264-41F1-8424-1BF612C770E4}" type="presOf" srcId="{96DE3086-D6B2-489F-AF48-8912E4EC9D72}" destId="{D644DDD9-B6F8-4655-8D8B-43C9D6CB8B31}" srcOrd="0" destOrd="0" presId="urn:microsoft.com/office/officeart/2005/8/layout/cycle6"/>
    <dgm:cxn modelId="{C5E53FDB-CF14-499A-8E4C-0AD388BB870A}" type="presOf" srcId="{E7A6D2EE-2FCB-4C10-9D9D-5E61B8C49FEA}" destId="{3E5D2AD9-4686-49B8-B72A-27931EEEC98A}" srcOrd="0" destOrd="0" presId="urn:microsoft.com/office/officeart/2005/8/layout/cycle6"/>
    <dgm:cxn modelId="{E66C76A8-3C23-4A9A-A508-554A4AFAAB23}" type="presParOf" srcId="{54FD7199-B395-4937-BD68-E4F9BC35B2BC}" destId="{D644DDD9-B6F8-4655-8D8B-43C9D6CB8B31}" srcOrd="0" destOrd="0" presId="urn:microsoft.com/office/officeart/2005/8/layout/cycle6"/>
    <dgm:cxn modelId="{C10EC0EC-88A3-49FD-B7DA-C8C5A17E1D53}" type="presParOf" srcId="{54FD7199-B395-4937-BD68-E4F9BC35B2BC}" destId="{0630CB0D-5484-48AC-974A-7422A6AC5BE4}" srcOrd="1" destOrd="0" presId="urn:microsoft.com/office/officeart/2005/8/layout/cycle6"/>
    <dgm:cxn modelId="{19B10A98-4899-4CEF-82C7-704B58340B27}" type="presParOf" srcId="{54FD7199-B395-4937-BD68-E4F9BC35B2BC}" destId="{6AC8799C-ECCB-4A46-BF36-CC5BC71CC2D7}" srcOrd="2" destOrd="0" presId="urn:microsoft.com/office/officeart/2005/8/layout/cycle6"/>
    <dgm:cxn modelId="{FECC0461-0E78-4F81-86A5-1EB10A7CA085}" type="presParOf" srcId="{54FD7199-B395-4937-BD68-E4F9BC35B2BC}" destId="{3E5D2AD9-4686-49B8-B72A-27931EEEC98A}" srcOrd="3" destOrd="0" presId="urn:microsoft.com/office/officeart/2005/8/layout/cycle6"/>
    <dgm:cxn modelId="{96328A94-F657-4DB5-A099-9D4153F089DB}" type="presParOf" srcId="{54FD7199-B395-4937-BD68-E4F9BC35B2BC}" destId="{C4B0552B-2F5D-4824-9E58-DB9788997F5F}" srcOrd="4" destOrd="0" presId="urn:microsoft.com/office/officeart/2005/8/layout/cycle6"/>
    <dgm:cxn modelId="{766EBDEC-680F-4584-8DD0-B7C4159A6D6B}" type="presParOf" srcId="{54FD7199-B395-4937-BD68-E4F9BC35B2BC}" destId="{51A1BF9F-D5BC-4532-A20E-C97178709D63}" srcOrd="5" destOrd="0" presId="urn:microsoft.com/office/officeart/2005/8/layout/cycle6"/>
    <dgm:cxn modelId="{E2039CC3-5268-4FEC-BB7C-2E58B4C952E1}" type="presParOf" srcId="{54FD7199-B395-4937-BD68-E4F9BC35B2BC}" destId="{BF2620E6-571C-4256-A0DD-CC7C9B162EE7}" srcOrd="6" destOrd="0" presId="urn:microsoft.com/office/officeart/2005/8/layout/cycle6"/>
    <dgm:cxn modelId="{93C0031A-FE93-4EBD-AE19-500948B05026}" type="presParOf" srcId="{54FD7199-B395-4937-BD68-E4F9BC35B2BC}" destId="{5699870B-CD9B-4443-A7E1-C210A6347CB8}" srcOrd="7" destOrd="0" presId="urn:microsoft.com/office/officeart/2005/8/layout/cycle6"/>
    <dgm:cxn modelId="{AB2922B8-6793-4C1B-8ADA-DBA6F4F69DD4}" type="presParOf" srcId="{54FD7199-B395-4937-BD68-E4F9BC35B2BC}" destId="{324CD12F-8702-4DB9-8B3A-D36E9C436545}" srcOrd="8" destOrd="0" presId="urn:microsoft.com/office/officeart/2005/8/layout/cycle6"/>
    <dgm:cxn modelId="{C2D83263-2805-4DAF-9F93-B996C5EEF1B8}" type="presParOf" srcId="{54FD7199-B395-4937-BD68-E4F9BC35B2BC}" destId="{80F3756C-447B-44FC-A73B-DF4F06606C29}" srcOrd="9" destOrd="0" presId="urn:microsoft.com/office/officeart/2005/8/layout/cycle6"/>
    <dgm:cxn modelId="{25451BC9-6A42-409E-A8B1-D88FA05D26A9}" type="presParOf" srcId="{54FD7199-B395-4937-BD68-E4F9BC35B2BC}" destId="{1A892405-AF7C-4407-9E46-BC7586A9107A}" srcOrd="10" destOrd="0" presId="urn:microsoft.com/office/officeart/2005/8/layout/cycle6"/>
    <dgm:cxn modelId="{4F371880-9719-44E2-903B-BB6A365F9BB4}" type="presParOf" srcId="{54FD7199-B395-4937-BD68-E4F9BC35B2BC}" destId="{98311ED8-5FE3-4118-B5BA-55D1B809ACD1}" srcOrd="11" destOrd="0" presId="urn:microsoft.com/office/officeart/2005/8/layout/cycle6"/>
    <dgm:cxn modelId="{A0987881-09E1-4635-8134-92911E88CAA1}" type="presParOf" srcId="{54FD7199-B395-4937-BD68-E4F9BC35B2BC}" destId="{9EAF265E-4870-4BF1-B3C9-FE4520B01D93}" srcOrd="12" destOrd="0" presId="urn:microsoft.com/office/officeart/2005/8/layout/cycle6"/>
    <dgm:cxn modelId="{E1F9E8B5-FD79-437A-B27C-C1BAD016BDC7}" type="presParOf" srcId="{54FD7199-B395-4937-BD68-E4F9BC35B2BC}" destId="{10CF3F03-CC1D-42F7-91C3-4C8A15DB21EF}" srcOrd="13" destOrd="0" presId="urn:microsoft.com/office/officeart/2005/8/layout/cycle6"/>
    <dgm:cxn modelId="{95BF162E-34FF-413E-B7ED-D5B9A1041022}" type="presParOf" srcId="{54FD7199-B395-4937-BD68-E4F9BC35B2BC}" destId="{CEE12626-E5FE-44D1-A6FA-1003EBC65203}" srcOrd="14" destOrd="0" presId="urn:microsoft.com/office/officeart/2005/8/layout/cycle6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E136545-A018-4502-BFC1-A01A7CCFE576}" type="doc">
      <dgm:prSet loTypeId="urn:microsoft.com/office/officeart/2005/8/layout/process4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74727F3D-2989-4611-879E-968CAECAA3CF}">
      <dgm:prSet phldrT="[Texte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fr-FR" sz="2400" dirty="0">
              <a:solidFill>
                <a:schemeClr val="tx1"/>
              </a:solidFill>
            </a:rPr>
            <a:t>Saison très fortement amputée sans compétitions</a:t>
          </a:r>
        </a:p>
      </dgm:t>
    </dgm:pt>
    <dgm:pt modelId="{F6DE3460-B85C-4627-B237-7AA389227AB5}" type="parTrans" cxnId="{D35446A0-1A91-4ECD-83BB-523E56E0F01F}">
      <dgm:prSet/>
      <dgm:spPr/>
      <dgm:t>
        <a:bodyPr/>
        <a:lstStyle/>
        <a:p>
          <a:endParaRPr lang="fr-FR"/>
        </a:p>
      </dgm:t>
    </dgm:pt>
    <dgm:pt modelId="{D98C9E20-2394-4D04-A914-5250DBA3C60D}" type="sibTrans" cxnId="{D35446A0-1A91-4ECD-83BB-523E56E0F01F}">
      <dgm:prSet/>
      <dgm:spPr/>
      <dgm:t>
        <a:bodyPr/>
        <a:lstStyle/>
        <a:p>
          <a:endParaRPr lang="fr-FR"/>
        </a:p>
      </dgm:t>
    </dgm:pt>
    <dgm:pt modelId="{410DC2DD-C586-4720-A427-188765EC8333}">
      <dgm:prSet phldrT="[Texte]" custT="1"/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r>
            <a:rPr lang="fr-FR" sz="1800" dirty="0">
              <a:solidFill>
                <a:schemeClr val="tx1"/>
              </a:solidFill>
            </a:rPr>
            <a:t>Tournoi interne Bad le 17 octobre et stages de Bad et de GAM en octobre </a:t>
          </a:r>
        </a:p>
        <a:p>
          <a:r>
            <a:rPr lang="fr-FR" sz="1800" dirty="0">
              <a:solidFill>
                <a:schemeClr val="tx1"/>
              </a:solidFill>
            </a:rPr>
            <a:t>avant la fermeture</a:t>
          </a:r>
        </a:p>
      </dgm:t>
    </dgm:pt>
    <dgm:pt modelId="{7DE0AF57-BFC1-4B93-B1BF-87FD82BF0CC3}" type="parTrans" cxnId="{8D5B1372-C75A-4D9B-AFAA-3B6050837198}">
      <dgm:prSet/>
      <dgm:spPr/>
      <dgm:t>
        <a:bodyPr/>
        <a:lstStyle/>
        <a:p>
          <a:endParaRPr lang="fr-FR"/>
        </a:p>
      </dgm:t>
    </dgm:pt>
    <dgm:pt modelId="{8CF2AE56-63F9-469E-99FF-AB54946590C5}" type="sibTrans" cxnId="{8D5B1372-C75A-4D9B-AFAA-3B6050837198}">
      <dgm:prSet/>
      <dgm:spPr/>
      <dgm:t>
        <a:bodyPr/>
        <a:lstStyle/>
        <a:p>
          <a:endParaRPr lang="fr-FR"/>
        </a:p>
      </dgm:t>
    </dgm:pt>
    <dgm:pt modelId="{3121DA9D-154A-4258-9068-BA4BC1D99480}">
      <dgm:prSet phldrT="[Texte]" custT="1"/>
      <dgm:spPr>
        <a:solidFill>
          <a:srgbClr val="FA7D7D"/>
        </a:solidFill>
      </dgm:spPr>
      <dgm:t>
        <a:bodyPr/>
        <a:lstStyle/>
        <a:p>
          <a:r>
            <a:rPr lang="fr-FR" sz="2400" dirty="0">
              <a:solidFill>
                <a:schemeClr val="tx1"/>
              </a:solidFill>
            </a:rPr>
            <a:t>Une Assemblée Générale en </a:t>
          </a:r>
          <a:r>
            <a:rPr lang="fr-FR" sz="2400" dirty="0" err="1">
              <a:solidFill>
                <a:schemeClr val="tx1"/>
              </a:solidFill>
            </a:rPr>
            <a:t>visio</a:t>
          </a:r>
          <a:r>
            <a:rPr lang="fr-FR" sz="2400" dirty="0">
              <a:solidFill>
                <a:schemeClr val="tx1"/>
              </a:solidFill>
            </a:rPr>
            <a:t> le 27 novembre 2020</a:t>
          </a:r>
        </a:p>
      </dgm:t>
    </dgm:pt>
    <dgm:pt modelId="{81379620-3288-420A-B810-19B5CBCC5D42}" type="parTrans" cxnId="{5AC3AED1-E8C3-4DE0-88F5-BB2A3C8AAA03}">
      <dgm:prSet/>
      <dgm:spPr/>
      <dgm:t>
        <a:bodyPr/>
        <a:lstStyle/>
        <a:p>
          <a:endParaRPr lang="fr-FR"/>
        </a:p>
      </dgm:t>
    </dgm:pt>
    <dgm:pt modelId="{6E25CA3E-907C-421D-9704-491021AF9DAB}" type="sibTrans" cxnId="{5AC3AED1-E8C3-4DE0-88F5-BB2A3C8AAA03}">
      <dgm:prSet/>
      <dgm:spPr/>
      <dgm:t>
        <a:bodyPr/>
        <a:lstStyle/>
        <a:p>
          <a:endParaRPr lang="fr-FR"/>
        </a:p>
      </dgm:t>
    </dgm:pt>
    <dgm:pt modelId="{61CA4B28-F9A1-4905-B00F-B51BF3651E0B}">
      <dgm:prSet phldrT="[Texte]" custT="1"/>
      <dgm:spPr>
        <a:solidFill>
          <a:srgbClr val="FCCBCE"/>
        </a:solidFill>
      </dgm:spPr>
      <dgm:t>
        <a:bodyPr/>
        <a:lstStyle/>
        <a:p>
          <a:r>
            <a:rPr lang="fr-FR" sz="2400" dirty="0">
              <a:solidFill>
                <a:schemeClr val="tx1"/>
              </a:solidFill>
            </a:rPr>
            <a:t>19 semaines d’arrêt pour les Mineurs, 25 pour les Adultes </a:t>
          </a:r>
        </a:p>
      </dgm:t>
    </dgm:pt>
    <dgm:pt modelId="{E1EE100B-9BBA-4B12-94C8-965159B811FE}" type="parTrans" cxnId="{A2532AD2-517F-4AEB-A280-998A21D04B91}">
      <dgm:prSet/>
      <dgm:spPr/>
      <dgm:t>
        <a:bodyPr/>
        <a:lstStyle/>
        <a:p>
          <a:endParaRPr lang="fr-FR"/>
        </a:p>
      </dgm:t>
    </dgm:pt>
    <dgm:pt modelId="{47BD00EA-1332-4021-AD10-95EFF9C2D0C0}" type="sibTrans" cxnId="{A2532AD2-517F-4AEB-A280-998A21D04B91}">
      <dgm:prSet/>
      <dgm:spPr/>
      <dgm:t>
        <a:bodyPr/>
        <a:lstStyle/>
        <a:p>
          <a:endParaRPr lang="fr-FR"/>
        </a:p>
      </dgm:t>
    </dgm:pt>
    <dgm:pt modelId="{563C2622-4302-479B-866A-0FB83CD54051}">
      <dgm:prSet phldrT="[Texte]" custT="1"/>
      <dgm:spPr>
        <a:solidFill>
          <a:srgbClr val="FA7D7D"/>
        </a:solidFill>
      </dgm:spPr>
      <dgm:t>
        <a:bodyPr/>
        <a:lstStyle/>
        <a:p>
          <a:r>
            <a:rPr lang="fr-FR" sz="2400" dirty="0">
              <a:solidFill>
                <a:schemeClr val="tx1"/>
              </a:solidFill>
            </a:rPr>
            <a:t>La construction du projet «En route pour 2024 »</a:t>
          </a:r>
        </a:p>
      </dgm:t>
    </dgm:pt>
    <dgm:pt modelId="{5F654ACE-BC86-4F55-8658-BC0640229145}" type="parTrans" cxnId="{98AA5D05-130A-4D33-94DC-8F6CCD85E4CF}">
      <dgm:prSet/>
      <dgm:spPr/>
      <dgm:t>
        <a:bodyPr/>
        <a:lstStyle/>
        <a:p>
          <a:endParaRPr lang="fr-FR"/>
        </a:p>
      </dgm:t>
    </dgm:pt>
    <dgm:pt modelId="{A5B1389C-522B-4AAC-A880-B574EB25CDFB}" type="sibTrans" cxnId="{98AA5D05-130A-4D33-94DC-8F6CCD85E4CF}">
      <dgm:prSet/>
      <dgm:spPr/>
      <dgm:t>
        <a:bodyPr/>
        <a:lstStyle/>
        <a:p>
          <a:endParaRPr lang="fr-FR"/>
        </a:p>
      </dgm:t>
    </dgm:pt>
    <dgm:pt modelId="{7EAA5A1B-70D5-4512-BECF-5403758743F5}">
      <dgm:prSet phldrT="[Texte]" custT="1"/>
      <dgm:spPr>
        <a:solidFill>
          <a:schemeClr val="accent3"/>
        </a:solidFill>
      </dgm:spPr>
      <dgm:t>
        <a:bodyPr/>
        <a:lstStyle/>
        <a:p>
          <a:r>
            <a:rPr lang="fr-FR" sz="2400" dirty="0">
              <a:solidFill>
                <a:schemeClr val="tx1"/>
              </a:solidFill>
            </a:rPr>
            <a:t>La création d’un charte graphique</a:t>
          </a:r>
        </a:p>
      </dgm:t>
    </dgm:pt>
    <dgm:pt modelId="{703985B0-E734-4C44-8804-91CEAC5119B1}" type="parTrans" cxnId="{5FFB01AC-EAC9-4155-B87C-41B97831C6DB}">
      <dgm:prSet/>
      <dgm:spPr/>
      <dgm:t>
        <a:bodyPr/>
        <a:lstStyle/>
        <a:p>
          <a:endParaRPr lang="fr-FR"/>
        </a:p>
      </dgm:t>
    </dgm:pt>
    <dgm:pt modelId="{37291213-47A8-4370-9A74-59C49FC9C091}" type="sibTrans" cxnId="{5FFB01AC-EAC9-4155-B87C-41B97831C6DB}">
      <dgm:prSet/>
      <dgm:spPr/>
      <dgm:t>
        <a:bodyPr/>
        <a:lstStyle/>
        <a:p>
          <a:endParaRPr lang="fr-FR"/>
        </a:p>
      </dgm:t>
    </dgm:pt>
    <dgm:pt modelId="{432B2630-075E-4DF4-B661-3CA6D799E9B6}">
      <dgm:prSet phldrT="[Texte]" custT="1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fr-FR" sz="2400" dirty="0">
              <a:solidFill>
                <a:schemeClr val="tx1"/>
              </a:solidFill>
            </a:rPr>
            <a:t>L’émission de reçus fiscaux</a:t>
          </a:r>
        </a:p>
      </dgm:t>
    </dgm:pt>
    <dgm:pt modelId="{BD355A81-452B-49D3-AD01-C155DBE0B446}" type="parTrans" cxnId="{99196B19-BF36-4BD6-956D-72B10B0F5152}">
      <dgm:prSet/>
      <dgm:spPr/>
      <dgm:t>
        <a:bodyPr/>
        <a:lstStyle/>
        <a:p>
          <a:endParaRPr lang="fr-FR"/>
        </a:p>
      </dgm:t>
    </dgm:pt>
    <dgm:pt modelId="{9EFCFF0B-6AFC-4A56-8F69-BEE614AE3BFF}" type="sibTrans" cxnId="{99196B19-BF36-4BD6-956D-72B10B0F5152}">
      <dgm:prSet/>
      <dgm:spPr/>
      <dgm:t>
        <a:bodyPr/>
        <a:lstStyle/>
        <a:p>
          <a:endParaRPr lang="fr-FR"/>
        </a:p>
      </dgm:t>
    </dgm:pt>
    <dgm:pt modelId="{8E746494-CB8F-4EB1-9810-1E201D923E04}">
      <dgm:prSet phldrT="[Texte]" custT="1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fr-FR" sz="2000" dirty="0">
              <a:solidFill>
                <a:schemeClr val="tx1"/>
              </a:solidFill>
            </a:rPr>
            <a:t>Indemnisations et période d’inscriptions à tarifs préférentiels</a:t>
          </a:r>
        </a:p>
      </dgm:t>
    </dgm:pt>
    <dgm:pt modelId="{0A6B6A6B-E301-4829-B917-ED67871958FE}" type="parTrans" cxnId="{3955443C-3A19-4F62-945B-9BEF83893E33}">
      <dgm:prSet/>
      <dgm:spPr/>
      <dgm:t>
        <a:bodyPr/>
        <a:lstStyle/>
        <a:p>
          <a:endParaRPr lang="fr-FR"/>
        </a:p>
      </dgm:t>
    </dgm:pt>
    <dgm:pt modelId="{CFEF403C-471C-4BE9-B84B-902312568CC9}" type="sibTrans" cxnId="{3955443C-3A19-4F62-945B-9BEF83893E33}">
      <dgm:prSet/>
      <dgm:spPr/>
      <dgm:t>
        <a:bodyPr/>
        <a:lstStyle/>
        <a:p>
          <a:endParaRPr lang="fr-FR"/>
        </a:p>
      </dgm:t>
    </dgm:pt>
    <dgm:pt modelId="{3EE81FC0-3D27-4121-910A-5DFD224A7498}">
      <dgm:prSet phldrT="[Texte]" custT="1"/>
      <dgm:spPr>
        <a:solidFill>
          <a:srgbClr val="FCCBCE"/>
        </a:solidFill>
      </dgm:spPr>
      <dgm:t>
        <a:bodyPr/>
        <a:lstStyle/>
        <a:p>
          <a:r>
            <a:rPr lang="fr-FR" sz="2400" dirty="0">
              <a:solidFill>
                <a:schemeClr val="tx1"/>
              </a:solidFill>
            </a:rPr>
            <a:t>Maintien des salaires à 100 % pour les salariés</a:t>
          </a:r>
        </a:p>
      </dgm:t>
    </dgm:pt>
    <dgm:pt modelId="{6C30C3FE-8D7C-42B2-890E-543B84F49F57}" type="parTrans" cxnId="{92F511B2-EA42-4039-B3B8-FC16336433C0}">
      <dgm:prSet/>
      <dgm:spPr/>
      <dgm:t>
        <a:bodyPr/>
        <a:lstStyle/>
        <a:p>
          <a:endParaRPr lang="fr-FR"/>
        </a:p>
      </dgm:t>
    </dgm:pt>
    <dgm:pt modelId="{394E25C3-0F2A-45BE-B78C-CEB766E7B138}" type="sibTrans" cxnId="{92F511B2-EA42-4039-B3B8-FC16336433C0}">
      <dgm:prSet/>
      <dgm:spPr/>
      <dgm:t>
        <a:bodyPr/>
        <a:lstStyle/>
        <a:p>
          <a:endParaRPr lang="fr-FR"/>
        </a:p>
      </dgm:t>
    </dgm:pt>
    <dgm:pt modelId="{9502D524-D0AA-4A49-9884-81EA8D2409D2}" type="pres">
      <dgm:prSet presAssocID="{CE136545-A018-4502-BFC1-A01A7CCFE576}" presName="Name0" presStyleCnt="0">
        <dgm:presLayoutVars>
          <dgm:dir/>
          <dgm:animLvl val="lvl"/>
          <dgm:resizeHandles val="exact"/>
        </dgm:presLayoutVars>
      </dgm:prSet>
      <dgm:spPr/>
    </dgm:pt>
    <dgm:pt modelId="{52516C6B-71FC-4A6E-BA60-456D0B07F30F}" type="pres">
      <dgm:prSet presAssocID="{8E746494-CB8F-4EB1-9810-1E201D923E04}" presName="boxAndChildren" presStyleCnt="0"/>
      <dgm:spPr/>
    </dgm:pt>
    <dgm:pt modelId="{04E748BD-50A7-4601-9D8E-52CCA02FE461}" type="pres">
      <dgm:prSet presAssocID="{8E746494-CB8F-4EB1-9810-1E201D923E04}" presName="parentTextBox" presStyleLbl="node1" presStyleIdx="0" presStyleCnt="9"/>
      <dgm:spPr/>
    </dgm:pt>
    <dgm:pt modelId="{D87F9B5F-F1EB-4CD5-9CB5-62DEAB756946}" type="pres">
      <dgm:prSet presAssocID="{9EFCFF0B-6AFC-4A56-8F69-BEE614AE3BFF}" presName="sp" presStyleCnt="0"/>
      <dgm:spPr/>
    </dgm:pt>
    <dgm:pt modelId="{319E4412-23D3-4B74-92A0-4D9386F7EBC7}" type="pres">
      <dgm:prSet presAssocID="{432B2630-075E-4DF4-B661-3CA6D799E9B6}" presName="arrowAndChildren" presStyleCnt="0"/>
      <dgm:spPr/>
    </dgm:pt>
    <dgm:pt modelId="{FEA37901-C0A0-473C-92BB-327FC88681BC}" type="pres">
      <dgm:prSet presAssocID="{432B2630-075E-4DF4-B661-3CA6D799E9B6}" presName="parentTextArrow" presStyleLbl="node1" presStyleIdx="1" presStyleCnt="9"/>
      <dgm:spPr/>
    </dgm:pt>
    <dgm:pt modelId="{BDF4DB84-8B34-463F-A91F-3146126E9246}" type="pres">
      <dgm:prSet presAssocID="{37291213-47A8-4370-9A74-59C49FC9C091}" presName="sp" presStyleCnt="0"/>
      <dgm:spPr/>
    </dgm:pt>
    <dgm:pt modelId="{0F7DCD66-423B-47AE-8E08-EDA5D5CC2874}" type="pres">
      <dgm:prSet presAssocID="{7EAA5A1B-70D5-4512-BECF-5403758743F5}" presName="arrowAndChildren" presStyleCnt="0"/>
      <dgm:spPr/>
    </dgm:pt>
    <dgm:pt modelId="{44F915BB-13CA-4155-9369-3D188D9C8C24}" type="pres">
      <dgm:prSet presAssocID="{7EAA5A1B-70D5-4512-BECF-5403758743F5}" presName="parentTextArrow" presStyleLbl="node1" presStyleIdx="2" presStyleCnt="9"/>
      <dgm:spPr/>
    </dgm:pt>
    <dgm:pt modelId="{DFE04010-0F23-4B03-8275-B0EFE54EF560}" type="pres">
      <dgm:prSet presAssocID="{A5B1389C-522B-4AAC-A880-B574EB25CDFB}" presName="sp" presStyleCnt="0"/>
      <dgm:spPr/>
    </dgm:pt>
    <dgm:pt modelId="{D9994C93-A65B-4941-A9A1-5F1DF7E7C070}" type="pres">
      <dgm:prSet presAssocID="{563C2622-4302-479B-866A-0FB83CD54051}" presName="arrowAndChildren" presStyleCnt="0"/>
      <dgm:spPr/>
    </dgm:pt>
    <dgm:pt modelId="{037BBCA1-DA96-4D49-82E4-5BFB27FC9589}" type="pres">
      <dgm:prSet presAssocID="{563C2622-4302-479B-866A-0FB83CD54051}" presName="parentTextArrow" presStyleLbl="node1" presStyleIdx="3" presStyleCnt="9"/>
      <dgm:spPr/>
    </dgm:pt>
    <dgm:pt modelId="{2AA77212-D29A-4923-9F67-366B51CA762D}" type="pres">
      <dgm:prSet presAssocID="{47BD00EA-1332-4021-AD10-95EFF9C2D0C0}" presName="sp" presStyleCnt="0"/>
      <dgm:spPr/>
    </dgm:pt>
    <dgm:pt modelId="{DAEC0292-A158-448A-A68D-5F064F0A1525}" type="pres">
      <dgm:prSet presAssocID="{61CA4B28-F9A1-4905-B00F-B51BF3651E0B}" presName="arrowAndChildren" presStyleCnt="0"/>
      <dgm:spPr/>
    </dgm:pt>
    <dgm:pt modelId="{B9A938CB-C6E6-487E-A8BD-5FE0271E12CE}" type="pres">
      <dgm:prSet presAssocID="{61CA4B28-F9A1-4905-B00F-B51BF3651E0B}" presName="parentTextArrow" presStyleLbl="node1" presStyleIdx="4" presStyleCnt="9"/>
      <dgm:spPr/>
    </dgm:pt>
    <dgm:pt modelId="{1C8D7655-2795-4B6F-A6CE-519F92B929FE}" type="pres">
      <dgm:prSet presAssocID="{394E25C3-0F2A-45BE-B78C-CEB766E7B138}" presName="sp" presStyleCnt="0"/>
      <dgm:spPr/>
    </dgm:pt>
    <dgm:pt modelId="{5E226E7F-1957-428C-B182-7E0DE09428A0}" type="pres">
      <dgm:prSet presAssocID="{3EE81FC0-3D27-4121-910A-5DFD224A7498}" presName="arrowAndChildren" presStyleCnt="0"/>
      <dgm:spPr/>
    </dgm:pt>
    <dgm:pt modelId="{65E4CCF9-1BA6-4E24-ADAF-ED92440A61F0}" type="pres">
      <dgm:prSet presAssocID="{3EE81FC0-3D27-4121-910A-5DFD224A7498}" presName="parentTextArrow" presStyleLbl="node1" presStyleIdx="5" presStyleCnt="9"/>
      <dgm:spPr/>
    </dgm:pt>
    <dgm:pt modelId="{6E85AAAD-6135-4CF6-A574-DA65ACEF5C35}" type="pres">
      <dgm:prSet presAssocID="{6E25CA3E-907C-421D-9704-491021AF9DAB}" presName="sp" presStyleCnt="0"/>
      <dgm:spPr/>
    </dgm:pt>
    <dgm:pt modelId="{5B95E37A-948C-4A52-97EF-69277D748510}" type="pres">
      <dgm:prSet presAssocID="{3121DA9D-154A-4258-9068-BA4BC1D99480}" presName="arrowAndChildren" presStyleCnt="0"/>
      <dgm:spPr/>
    </dgm:pt>
    <dgm:pt modelId="{DE9D4EB4-CAC9-4A9D-ACA5-A3AB016B88C4}" type="pres">
      <dgm:prSet presAssocID="{3121DA9D-154A-4258-9068-BA4BC1D99480}" presName="parentTextArrow" presStyleLbl="node1" presStyleIdx="6" presStyleCnt="9"/>
      <dgm:spPr/>
    </dgm:pt>
    <dgm:pt modelId="{CF0B3979-125A-4950-AE39-126619D81F68}" type="pres">
      <dgm:prSet presAssocID="{8CF2AE56-63F9-469E-99FF-AB54946590C5}" presName="sp" presStyleCnt="0"/>
      <dgm:spPr/>
    </dgm:pt>
    <dgm:pt modelId="{868E2FBC-0FA5-46E9-B3C8-CBDE595622AE}" type="pres">
      <dgm:prSet presAssocID="{410DC2DD-C586-4720-A427-188765EC8333}" presName="arrowAndChildren" presStyleCnt="0"/>
      <dgm:spPr/>
    </dgm:pt>
    <dgm:pt modelId="{04C9FAE8-795C-4A6B-A109-F1E518811555}" type="pres">
      <dgm:prSet presAssocID="{410DC2DD-C586-4720-A427-188765EC8333}" presName="parentTextArrow" presStyleLbl="node1" presStyleIdx="7" presStyleCnt="9" custScaleY="151237"/>
      <dgm:spPr/>
    </dgm:pt>
    <dgm:pt modelId="{FC88AC73-5FB0-42D8-92DD-2EA9664B81B8}" type="pres">
      <dgm:prSet presAssocID="{D98C9E20-2394-4D04-A914-5250DBA3C60D}" presName="sp" presStyleCnt="0"/>
      <dgm:spPr/>
    </dgm:pt>
    <dgm:pt modelId="{BF4F7E15-6F4F-4433-A362-3177ADAE6761}" type="pres">
      <dgm:prSet presAssocID="{74727F3D-2989-4611-879E-968CAECAA3CF}" presName="arrowAndChildren" presStyleCnt="0"/>
      <dgm:spPr/>
    </dgm:pt>
    <dgm:pt modelId="{5C0CA91D-458F-4D8D-AEFC-AB497E6D417C}" type="pres">
      <dgm:prSet presAssocID="{74727F3D-2989-4611-879E-968CAECAA3CF}" presName="parentTextArrow" presStyleLbl="node1" presStyleIdx="8" presStyleCnt="9"/>
      <dgm:spPr/>
    </dgm:pt>
  </dgm:ptLst>
  <dgm:cxnLst>
    <dgm:cxn modelId="{98AA5D05-130A-4D33-94DC-8F6CCD85E4CF}" srcId="{CE136545-A018-4502-BFC1-A01A7CCFE576}" destId="{563C2622-4302-479B-866A-0FB83CD54051}" srcOrd="5" destOrd="0" parTransId="{5F654ACE-BC86-4F55-8658-BC0640229145}" sibTransId="{A5B1389C-522B-4AAC-A880-B574EB25CDFB}"/>
    <dgm:cxn modelId="{A0E7AF06-71EE-446F-871E-8AE167B75719}" type="presOf" srcId="{CE136545-A018-4502-BFC1-A01A7CCFE576}" destId="{9502D524-D0AA-4A49-9884-81EA8D2409D2}" srcOrd="0" destOrd="0" presId="urn:microsoft.com/office/officeart/2005/8/layout/process4"/>
    <dgm:cxn modelId="{99196B19-BF36-4BD6-956D-72B10B0F5152}" srcId="{CE136545-A018-4502-BFC1-A01A7CCFE576}" destId="{432B2630-075E-4DF4-B661-3CA6D799E9B6}" srcOrd="7" destOrd="0" parTransId="{BD355A81-452B-49D3-AD01-C155DBE0B446}" sibTransId="{9EFCFF0B-6AFC-4A56-8F69-BEE614AE3BFF}"/>
    <dgm:cxn modelId="{3955443C-3A19-4F62-945B-9BEF83893E33}" srcId="{CE136545-A018-4502-BFC1-A01A7CCFE576}" destId="{8E746494-CB8F-4EB1-9810-1E201D923E04}" srcOrd="8" destOrd="0" parTransId="{0A6B6A6B-E301-4829-B917-ED67871958FE}" sibTransId="{CFEF403C-471C-4BE9-B84B-902312568CC9}"/>
    <dgm:cxn modelId="{2F561967-CEBD-492F-823A-865E77324875}" type="presOf" srcId="{410DC2DD-C586-4720-A427-188765EC8333}" destId="{04C9FAE8-795C-4A6B-A109-F1E518811555}" srcOrd="0" destOrd="0" presId="urn:microsoft.com/office/officeart/2005/8/layout/process4"/>
    <dgm:cxn modelId="{4A6A5A6B-7697-4E93-83A7-65570055ABF2}" type="presOf" srcId="{8E746494-CB8F-4EB1-9810-1E201D923E04}" destId="{04E748BD-50A7-4601-9D8E-52CCA02FE461}" srcOrd="0" destOrd="0" presId="urn:microsoft.com/office/officeart/2005/8/layout/process4"/>
    <dgm:cxn modelId="{8D5B1372-C75A-4D9B-AFAA-3B6050837198}" srcId="{CE136545-A018-4502-BFC1-A01A7CCFE576}" destId="{410DC2DD-C586-4720-A427-188765EC8333}" srcOrd="1" destOrd="0" parTransId="{7DE0AF57-BFC1-4B93-B1BF-87FD82BF0CC3}" sibTransId="{8CF2AE56-63F9-469E-99FF-AB54946590C5}"/>
    <dgm:cxn modelId="{B5A9C172-948C-4B32-9656-0307596FEA22}" type="presOf" srcId="{3121DA9D-154A-4258-9068-BA4BC1D99480}" destId="{DE9D4EB4-CAC9-4A9D-ACA5-A3AB016B88C4}" srcOrd="0" destOrd="0" presId="urn:microsoft.com/office/officeart/2005/8/layout/process4"/>
    <dgm:cxn modelId="{8E4F0784-B66C-4516-8643-43BAB9D405AA}" type="presOf" srcId="{432B2630-075E-4DF4-B661-3CA6D799E9B6}" destId="{FEA37901-C0A0-473C-92BB-327FC88681BC}" srcOrd="0" destOrd="0" presId="urn:microsoft.com/office/officeart/2005/8/layout/process4"/>
    <dgm:cxn modelId="{D35446A0-1A91-4ECD-83BB-523E56E0F01F}" srcId="{CE136545-A018-4502-BFC1-A01A7CCFE576}" destId="{74727F3D-2989-4611-879E-968CAECAA3CF}" srcOrd="0" destOrd="0" parTransId="{F6DE3460-B85C-4627-B237-7AA389227AB5}" sibTransId="{D98C9E20-2394-4D04-A914-5250DBA3C60D}"/>
    <dgm:cxn modelId="{29C541AA-1C74-47EB-B88D-FB838BF86F8E}" type="presOf" srcId="{563C2622-4302-479B-866A-0FB83CD54051}" destId="{037BBCA1-DA96-4D49-82E4-5BFB27FC9589}" srcOrd="0" destOrd="0" presId="urn:microsoft.com/office/officeart/2005/8/layout/process4"/>
    <dgm:cxn modelId="{265E62AA-AECF-44A0-88A4-60AAEE4D06E4}" type="presOf" srcId="{7EAA5A1B-70D5-4512-BECF-5403758743F5}" destId="{44F915BB-13CA-4155-9369-3D188D9C8C24}" srcOrd="0" destOrd="0" presId="urn:microsoft.com/office/officeart/2005/8/layout/process4"/>
    <dgm:cxn modelId="{5FFB01AC-EAC9-4155-B87C-41B97831C6DB}" srcId="{CE136545-A018-4502-BFC1-A01A7CCFE576}" destId="{7EAA5A1B-70D5-4512-BECF-5403758743F5}" srcOrd="6" destOrd="0" parTransId="{703985B0-E734-4C44-8804-91CEAC5119B1}" sibTransId="{37291213-47A8-4370-9A74-59C49FC9C091}"/>
    <dgm:cxn modelId="{92F511B2-EA42-4039-B3B8-FC16336433C0}" srcId="{CE136545-A018-4502-BFC1-A01A7CCFE576}" destId="{3EE81FC0-3D27-4121-910A-5DFD224A7498}" srcOrd="3" destOrd="0" parTransId="{6C30C3FE-8D7C-42B2-890E-543B84F49F57}" sibTransId="{394E25C3-0F2A-45BE-B78C-CEB766E7B138}"/>
    <dgm:cxn modelId="{5AC3AED1-E8C3-4DE0-88F5-BB2A3C8AAA03}" srcId="{CE136545-A018-4502-BFC1-A01A7CCFE576}" destId="{3121DA9D-154A-4258-9068-BA4BC1D99480}" srcOrd="2" destOrd="0" parTransId="{81379620-3288-420A-B810-19B5CBCC5D42}" sibTransId="{6E25CA3E-907C-421D-9704-491021AF9DAB}"/>
    <dgm:cxn modelId="{A2532AD2-517F-4AEB-A280-998A21D04B91}" srcId="{CE136545-A018-4502-BFC1-A01A7CCFE576}" destId="{61CA4B28-F9A1-4905-B00F-B51BF3651E0B}" srcOrd="4" destOrd="0" parTransId="{E1EE100B-9BBA-4B12-94C8-965159B811FE}" sibTransId="{47BD00EA-1332-4021-AD10-95EFF9C2D0C0}"/>
    <dgm:cxn modelId="{0FDA8AD2-98B6-4742-9654-BCBEFBA0535C}" type="presOf" srcId="{3EE81FC0-3D27-4121-910A-5DFD224A7498}" destId="{65E4CCF9-1BA6-4E24-ADAF-ED92440A61F0}" srcOrd="0" destOrd="0" presId="urn:microsoft.com/office/officeart/2005/8/layout/process4"/>
    <dgm:cxn modelId="{A769CEEE-2B2E-4DA7-9073-4C66547EA9B5}" type="presOf" srcId="{74727F3D-2989-4611-879E-968CAECAA3CF}" destId="{5C0CA91D-458F-4D8D-AEFC-AB497E6D417C}" srcOrd="0" destOrd="0" presId="urn:microsoft.com/office/officeart/2005/8/layout/process4"/>
    <dgm:cxn modelId="{7326EEF6-9B63-4B06-A2D1-27B488AE7C29}" type="presOf" srcId="{61CA4B28-F9A1-4905-B00F-B51BF3651E0B}" destId="{B9A938CB-C6E6-487E-A8BD-5FE0271E12CE}" srcOrd="0" destOrd="0" presId="urn:microsoft.com/office/officeart/2005/8/layout/process4"/>
    <dgm:cxn modelId="{83A0FCBF-3909-401E-90CA-5F1C98D8B1D8}" type="presParOf" srcId="{9502D524-D0AA-4A49-9884-81EA8D2409D2}" destId="{52516C6B-71FC-4A6E-BA60-456D0B07F30F}" srcOrd="0" destOrd="0" presId="urn:microsoft.com/office/officeart/2005/8/layout/process4"/>
    <dgm:cxn modelId="{ABAE9BF5-7F45-4BBF-B671-2A507E983756}" type="presParOf" srcId="{52516C6B-71FC-4A6E-BA60-456D0B07F30F}" destId="{04E748BD-50A7-4601-9D8E-52CCA02FE461}" srcOrd="0" destOrd="0" presId="urn:microsoft.com/office/officeart/2005/8/layout/process4"/>
    <dgm:cxn modelId="{762A863C-D6AC-4FF6-B825-D142C47BDF7B}" type="presParOf" srcId="{9502D524-D0AA-4A49-9884-81EA8D2409D2}" destId="{D87F9B5F-F1EB-4CD5-9CB5-62DEAB756946}" srcOrd="1" destOrd="0" presId="urn:microsoft.com/office/officeart/2005/8/layout/process4"/>
    <dgm:cxn modelId="{DBF43F5D-E5BA-4236-B827-5C45598AF35D}" type="presParOf" srcId="{9502D524-D0AA-4A49-9884-81EA8D2409D2}" destId="{319E4412-23D3-4B74-92A0-4D9386F7EBC7}" srcOrd="2" destOrd="0" presId="urn:microsoft.com/office/officeart/2005/8/layout/process4"/>
    <dgm:cxn modelId="{0A102078-4D82-4C0C-B9C1-F0F9E8DBE292}" type="presParOf" srcId="{319E4412-23D3-4B74-92A0-4D9386F7EBC7}" destId="{FEA37901-C0A0-473C-92BB-327FC88681BC}" srcOrd="0" destOrd="0" presId="urn:microsoft.com/office/officeart/2005/8/layout/process4"/>
    <dgm:cxn modelId="{A445DFC7-5B1F-4836-8EF5-EA1E1F4C9AF7}" type="presParOf" srcId="{9502D524-D0AA-4A49-9884-81EA8D2409D2}" destId="{BDF4DB84-8B34-463F-A91F-3146126E9246}" srcOrd="3" destOrd="0" presId="urn:microsoft.com/office/officeart/2005/8/layout/process4"/>
    <dgm:cxn modelId="{43880953-B34A-4863-B825-9117067E1A05}" type="presParOf" srcId="{9502D524-D0AA-4A49-9884-81EA8D2409D2}" destId="{0F7DCD66-423B-47AE-8E08-EDA5D5CC2874}" srcOrd="4" destOrd="0" presId="urn:microsoft.com/office/officeart/2005/8/layout/process4"/>
    <dgm:cxn modelId="{DA42B719-FCCB-498F-9530-A713FB659DC6}" type="presParOf" srcId="{0F7DCD66-423B-47AE-8E08-EDA5D5CC2874}" destId="{44F915BB-13CA-4155-9369-3D188D9C8C24}" srcOrd="0" destOrd="0" presId="urn:microsoft.com/office/officeart/2005/8/layout/process4"/>
    <dgm:cxn modelId="{D76E3592-CC4D-4FEC-820E-C1A5BB0E6D93}" type="presParOf" srcId="{9502D524-D0AA-4A49-9884-81EA8D2409D2}" destId="{DFE04010-0F23-4B03-8275-B0EFE54EF560}" srcOrd="5" destOrd="0" presId="urn:microsoft.com/office/officeart/2005/8/layout/process4"/>
    <dgm:cxn modelId="{DC6C84BD-7E03-4DD5-9E7D-6A16222D5040}" type="presParOf" srcId="{9502D524-D0AA-4A49-9884-81EA8D2409D2}" destId="{D9994C93-A65B-4941-A9A1-5F1DF7E7C070}" srcOrd="6" destOrd="0" presId="urn:microsoft.com/office/officeart/2005/8/layout/process4"/>
    <dgm:cxn modelId="{B3E0F8F2-3C53-42F9-B42D-FFCAB1B00163}" type="presParOf" srcId="{D9994C93-A65B-4941-A9A1-5F1DF7E7C070}" destId="{037BBCA1-DA96-4D49-82E4-5BFB27FC9589}" srcOrd="0" destOrd="0" presId="urn:microsoft.com/office/officeart/2005/8/layout/process4"/>
    <dgm:cxn modelId="{27CB4C69-9C63-48A8-92A5-E56BFE4641AE}" type="presParOf" srcId="{9502D524-D0AA-4A49-9884-81EA8D2409D2}" destId="{2AA77212-D29A-4923-9F67-366B51CA762D}" srcOrd="7" destOrd="0" presId="urn:microsoft.com/office/officeart/2005/8/layout/process4"/>
    <dgm:cxn modelId="{A5A3E305-DE27-4588-9423-45A14082A046}" type="presParOf" srcId="{9502D524-D0AA-4A49-9884-81EA8D2409D2}" destId="{DAEC0292-A158-448A-A68D-5F064F0A1525}" srcOrd="8" destOrd="0" presId="urn:microsoft.com/office/officeart/2005/8/layout/process4"/>
    <dgm:cxn modelId="{8AFD1467-AC29-48A6-B387-FFB0BFEF6565}" type="presParOf" srcId="{DAEC0292-A158-448A-A68D-5F064F0A1525}" destId="{B9A938CB-C6E6-487E-A8BD-5FE0271E12CE}" srcOrd="0" destOrd="0" presId="urn:microsoft.com/office/officeart/2005/8/layout/process4"/>
    <dgm:cxn modelId="{4E7D12C7-8937-4752-A155-119023962D2C}" type="presParOf" srcId="{9502D524-D0AA-4A49-9884-81EA8D2409D2}" destId="{1C8D7655-2795-4B6F-A6CE-519F92B929FE}" srcOrd="9" destOrd="0" presId="urn:microsoft.com/office/officeart/2005/8/layout/process4"/>
    <dgm:cxn modelId="{3B8B1679-2BFC-4036-A6B0-D5F094B1D83F}" type="presParOf" srcId="{9502D524-D0AA-4A49-9884-81EA8D2409D2}" destId="{5E226E7F-1957-428C-B182-7E0DE09428A0}" srcOrd="10" destOrd="0" presId="urn:microsoft.com/office/officeart/2005/8/layout/process4"/>
    <dgm:cxn modelId="{3E4F8A97-AE81-4014-BCC8-2B0F540F05ED}" type="presParOf" srcId="{5E226E7F-1957-428C-B182-7E0DE09428A0}" destId="{65E4CCF9-1BA6-4E24-ADAF-ED92440A61F0}" srcOrd="0" destOrd="0" presId="urn:microsoft.com/office/officeart/2005/8/layout/process4"/>
    <dgm:cxn modelId="{3EA812B3-C705-4D0C-B855-8A81E1E83C49}" type="presParOf" srcId="{9502D524-D0AA-4A49-9884-81EA8D2409D2}" destId="{6E85AAAD-6135-4CF6-A574-DA65ACEF5C35}" srcOrd="11" destOrd="0" presId="urn:microsoft.com/office/officeart/2005/8/layout/process4"/>
    <dgm:cxn modelId="{02B9391B-3EB9-4FED-ADD5-8AA47345EB7D}" type="presParOf" srcId="{9502D524-D0AA-4A49-9884-81EA8D2409D2}" destId="{5B95E37A-948C-4A52-97EF-69277D748510}" srcOrd="12" destOrd="0" presId="urn:microsoft.com/office/officeart/2005/8/layout/process4"/>
    <dgm:cxn modelId="{626239E8-9F8A-4DFF-B96D-0E818AB0D39E}" type="presParOf" srcId="{5B95E37A-948C-4A52-97EF-69277D748510}" destId="{DE9D4EB4-CAC9-4A9D-ACA5-A3AB016B88C4}" srcOrd="0" destOrd="0" presId="urn:microsoft.com/office/officeart/2005/8/layout/process4"/>
    <dgm:cxn modelId="{F03B2DBC-1F87-490A-928C-CF06287B6F46}" type="presParOf" srcId="{9502D524-D0AA-4A49-9884-81EA8D2409D2}" destId="{CF0B3979-125A-4950-AE39-126619D81F68}" srcOrd="13" destOrd="0" presId="urn:microsoft.com/office/officeart/2005/8/layout/process4"/>
    <dgm:cxn modelId="{446F55B9-629B-427B-A4E9-2EDBBA1E8AC8}" type="presParOf" srcId="{9502D524-D0AA-4A49-9884-81EA8D2409D2}" destId="{868E2FBC-0FA5-46E9-B3C8-CBDE595622AE}" srcOrd="14" destOrd="0" presId="urn:microsoft.com/office/officeart/2005/8/layout/process4"/>
    <dgm:cxn modelId="{957BD22F-C62E-4E90-815F-5349EF77CD29}" type="presParOf" srcId="{868E2FBC-0FA5-46E9-B3C8-CBDE595622AE}" destId="{04C9FAE8-795C-4A6B-A109-F1E518811555}" srcOrd="0" destOrd="0" presId="urn:microsoft.com/office/officeart/2005/8/layout/process4"/>
    <dgm:cxn modelId="{BD261648-F49A-42E0-9555-4E40E0C522FE}" type="presParOf" srcId="{9502D524-D0AA-4A49-9884-81EA8D2409D2}" destId="{FC88AC73-5FB0-42D8-92DD-2EA9664B81B8}" srcOrd="15" destOrd="0" presId="urn:microsoft.com/office/officeart/2005/8/layout/process4"/>
    <dgm:cxn modelId="{AC5221BC-49BE-4CAA-90B1-B06A4E3F8EEF}" type="presParOf" srcId="{9502D524-D0AA-4A49-9884-81EA8D2409D2}" destId="{BF4F7E15-6F4F-4433-A362-3177ADAE6761}" srcOrd="16" destOrd="0" presId="urn:microsoft.com/office/officeart/2005/8/layout/process4"/>
    <dgm:cxn modelId="{EDC7DEFC-926D-472F-AB0D-870ED38DAFAB}" type="presParOf" srcId="{BF4F7E15-6F4F-4433-A362-3177ADAE6761}" destId="{5C0CA91D-458F-4D8D-AEFC-AB497E6D417C}" srcOrd="0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0E05967-1196-40E8-A2DC-2CE151D4A4D3}" type="doc">
      <dgm:prSet loTypeId="urn:microsoft.com/office/officeart/2008/layout/HexagonCluster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B0C25C8D-93E9-4B8E-98BB-89AA76DE65E3}">
      <dgm:prSet phldrT="[Texte]" custT="1"/>
      <dgm:spPr>
        <a:solidFill>
          <a:schemeClr val="accent2">
            <a:lumMod val="20000"/>
            <a:lumOff val="80000"/>
          </a:schemeClr>
        </a:solidFill>
        <a:ln>
          <a:solidFill>
            <a:srgbClr val="FF0000"/>
          </a:solidFill>
        </a:ln>
      </dgm:spPr>
      <dgm:t>
        <a:bodyPr/>
        <a:lstStyle/>
        <a:p>
          <a:r>
            <a:rPr lang="fr-FR" sz="2000" dirty="0">
              <a:solidFill>
                <a:schemeClr val="tx1"/>
              </a:solidFill>
            </a:rPr>
            <a:t>Attirer </a:t>
          </a:r>
        </a:p>
        <a:p>
          <a:r>
            <a:rPr lang="fr-FR" sz="2000" dirty="0">
              <a:solidFill>
                <a:schemeClr val="tx1"/>
              </a:solidFill>
            </a:rPr>
            <a:t>&amp;</a:t>
          </a:r>
        </a:p>
        <a:p>
          <a:r>
            <a:rPr lang="fr-FR" sz="2000" dirty="0">
              <a:solidFill>
                <a:schemeClr val="tx1"/>
              </a:solidFill>
            </a:rPr>
            <a:t> fidéliser</a:t>
          </a:r>
        </a:p>
      </dgm:t>
    </dgm:pt>
    <dgm:pt modelId="{79F0BF8A-EDA7-410E-B73E-D29F99C5850B}" type="parTrans" cxnId="{83C2AE89-68C8-4701-9272-AE089151DDA3}">
      <dgm:prSet/>
      <dgm:spPr/>
      <dgm:t>
        <a:bodyPr/>
        <a:lstStyle/>
        <a:p>
          <a:endParaRPr lang="fr-FR"/>
        </a:p>
      </dgm:t>
    </dgm:pt>
    <dgm:pt modelId="{BEB1C5AB-1B8F-4D48-B5D0-A8E18E239E0D}" type="sibTrans" cxnId="{83C2AE89-68C8-4701-9272-AE089151DDA3}">
      <dgm:prSet/>
      <dgm:spPr>
        <a:solidFill>
          <a:schemeClr val="accent3">
            <a:lumMod val="20000"/>
            <a:lumOff val="80000"/>
            <a:alpha val="90000"/>
          </a:schemeClr>
        </a:solidFill>
        <a:ln>
          <a:solidFill>
            <a:schemeClr val="accent1"/>
          </a:solidFill>
        </a:ln>
      </dgm:spPr>
      <dgm:t>
        <a:bodyPr/>
        <a:lstStyle/>
        <a:p>
          <a:endParaRPr lang="fr-FR"/>
        </a:p>
      </dgm:t>
    </dgm:pt>
    <dgm:pt modelId="{0454C926-F61D-4FCC-A15D-091FFF18F722}">
      <dgm:prSet phldrT="[Texte]" custT="1"/>
      <dgm:spPr>
        <a:solidFill>
          <a:schemeClr val="accent2">
            <a:lumMod val="20000"/>
            <a:lumOff val="80000"/>
          </a:schemeClr>
        </a:solidFill>
        <a:ln>
          <a:solidFill>
            <a:srgbClr val="FF0000"/>
          </a:solidFill>
        </a:ln>
      </dgm:spPr>
      <dgm:t>
        <a:bodyPr/>
        <a:lstStyle/>
        <a:p>
          <a:r>
            <a:rPr lang="fr-FR" sz="2000" dirty="0">
              <a:solidFill>
                <a:schemeClr val="tx1"/>
              </a:solidFill>
            </a:rPr>
            <a:t>Pratiquer &amp; </a:t>
          </a:r>
          <a:r>
            <a:rPr lang="fr-FR" sz="1800" dirty="0">
              <a:solidFill>
                <a:schemeClr val="tx1"/>
              </a:solidFill>
            </a:rPr>
            <a:t>Progresser</a:t>
          </a:r>
        </a:p>
      </dgm:t>
    </dgm:pt>
    <dgm:pt modelId="{83C83BC4-CDAE-48FC-B0A9-3C1D4860F9BE}" type="parTrans" cxnId="{A6B02A10-5EBC-458A-A63A-381C4C151AE8}">
      <dgm:prSet/>
      <dgm:spPr/>
      <dgm:t>
        <a:bodyPr/>
        <a:lstStyle/>
        <a:p>
          <a:endParaRPr lang="fr-FR"/>
        </a:p>
      </dgm:t>
    </dgm:pt>
    <dgm:pt modelId="{D35C246F-080A-4E53-B0BD-5778C674B0B6}" type="sibTrans" cxnId="{A6B02A10-5EBC-458A-A63A-381C4C151AE8}">
      <dgm:prSet/>
      <dgm:spPr>
        <a:blipFill rotWithShape="1">
          <a:blip xmlns:r="http://schemas.openxmlformats.org/officeDocument/2006/relationships" r:embed="rId1"/>
          <a:srcRect/>
          <a:stretch>
            <a:fillRect l="-37000" r="-37000"/>
          </a:stretch>
        </a:blipFill>
        <a:ln>
          <a:solidFill>
            <a:srgbClr val="FF0000"/>
          </a:solidFill>
        </a:ln>
      </dgm:spPr>
      <dgm:t>
        <a:bodyPr/>
        <a:lstStyle/>
        <a:p>
          <a:endParaRPr lang="fr-FR"/>
        </a:p>
      </dgm:t>
    </dgm:pt>
    <dgm:pt modelId="{127470D2-D51E-43DA-A0A8-D0605A6CB648}">
      <dgm:prSet phldrT="[Texte]" custT="1"/>
      <dgm:spPr>
        <a:solidFill>
          <a:schemeClr val="accent2">
            <a:lumMod val="20000"/>
            <a:lumOff val="80000"/>
          </a:schemeClr>
        </a:solidFill>
        <a:ln>
          <a:solidFill>
            <a:srgbClr val="FF0000"/>
          </a:solidFill>
        </a:ln>
      </dgm:spPr>
      <dgm:t>
        <a:bodyPr/>
        <a:lstStyle/>
        <a:p>
          <a:r>
            <a:rPr lang="fr-FR" sz="2000" dirty="0">
              <a:solidFill>
                <a:schemeClr val="tx1"/>
              </a:solidFill>
            </a:rPr>
            <a:t>Communiquer</a:t>
          </a:r>
        </a:p>
      </dgm:t>
    </dgm:pt>
    <dgm:pt modelId="{07983880-2147-494B-9A6D-42AC0E62CF7E}" type="parTrans" cxnId="{ECA05599-E2F7-4CD9-9442-C48ED0292ABE}">
      <dgm:prSet/>
      <dgm:spPr/>
      <dgm:t>
        <a:bodyPr/>
        <a:lstStyle/>
        <a:p>
          <a:endParaRPr lang="fr-FR"/>
        </a:p>
      </dgm:t>
    </dgm:pt>
    <dgm:pt modelId="{3EF01566-4021-442A-87FD-88082C133578}" type="sibTrans" cxnId="{ECA05599-E2F7-4CD9-9442-C48ED0292ABE}">
      <dgm:prSet/>
      <dgm:spPr>
        <a:blipFill rotWithShape="1">
          <a:blip xmlns:r="http://schemas.openxmlformats.org/officeDocument/2006/relationships" r:embed="rId2"/>
          <a:srcRect/>
          <a:stretch>
            <a:fillRect l="-28000" r="-28000"/>
          </a:stretch>
        </a:blipFill>
        <a:ln>
          <a:solidFill>
            <a:srgbClr val="FF0000"/>
          </a:solidFill>
        </a:ln>
      </dgm:spPr>
      <dgm:t>
        <a:bodyPr/>
        <a:lstStyle/>
        <a:p>
          <a:endParaRPr lang="fr-FR"/>
        </a:p>
      </dgm:t>
    </dgm:pt>
    <dgm:pt modelId="{D7FA3BDF-C9B2-4E1E-8224-C919F8B50312}">
      <dgm:prSet phldrT="[Texte]" custT="1"/>
      <dgm:spPr>
        <a:solidFill>
          <a:schemeClr val="accent2">
            <a:lumMod val="20000"/>
            <a:lumOff val="80000"/>
          </a:schemeClr>
        </a:solidFill>
        <a:ln>
          <a:solidFill>
            <a:srgbClr val="FF0000"/>
          </a:solidFill>
        </a:ln>
      </dgm:spPr>
      <dgm:t>
        <a:bodyPr/>
        <a:lstStyle/>
        <a:p>
          <a:r>
            <a:rPr lang="fr-FR" sz="2000" dirty="0">
              <a:solidFill>
                <a:schemeClr val="tx1"/>
              </a:solidFill>
            </a:rPr>
            <a:t>Innover </a:t>
          </a:r>
        </a:p>
        <a:p>
          <a:r>
            <a:rPr lang="fr-FR" sz="2000" dirty="0">
              <a:solidFill>
                <a:schemeClr val="tx1"/>
              </a:solidFill>
            </a:rPr>
            <a:t>&amp; Dématérialiser</a:t>
          </a:r>
        </a:p>
      </dgm:t>
    </dgm:pt>
    <dgm:pt modelId="{050617A3-ABEC-45B3-A533-BAC660D1F953}" type="parTrans" cxnId="{E1415ECF-25BE-4F6F-BEB1-1F2D9EC4E061}">
      <dgm:prSet/>
      <dgm:spPr/>
      <dgm:t>
        <a:bodyPr/>
        <a:lstStyle/>
        <a:p>
          <a:endParaRPr lang="fr-FR"/>
        </a:p>
      </dgm:t>
    </dgm:pt>
    <dgm:pt modelId="{717A17AF-B81B-4F80-96A7-F7DABEEF5E12}" type="sibTrans" cxnId="{E1415ECF-25BE-4F6F-BEB1-1F2D9EC4E061}">
      <dgm:prSet/>
      <dgm:spPr>
        <a:solidFill>
          <a:schemeClr val="accent2">
            <a:lumMod val="20000"/>
            <a:lumOff val="80000"/>
            <a:alpha val="90000"/>
          </a:schemeClr>
        </a:solidFill>
        <a:ln>
          <a:solidFill>
            <a:schemeClr val="accent1"/>
          </a:solidFill>
        </a:ln>
      </dgm:spPr>
      <dgm:t>
        <a:bodyPr/>
        <a:lstStyle/>
        <a:p>
          <a:endParaRPr lang="fr-FR"/>
        </a:p>
      </dgm:t>
    </dgm:pt>
    <dgm:pt modelId="{DAD8E282-7403-476E-982D-F7044AFAE0CA}">
      <dgm:prSet phldrT="[Texte]" custT="1"/>
      <dgm:spPr>
        <a:solidFill>
          <a:schemeClr val="accent2">
            <a:lumMod val="20000"/>
            <a:lumOff val="80000"/>
          </a:schemeClr>
        </a:solidFill>
        <a:ln>
          <a:solidFill>
            <a:srgbClr val="FF0000"/>
          </a:solidFill>
        </a:ln>
      </dgm:spPr>
      <dgm:t>
        <a:bodyPr/>
        <a:lstStyle/>
        <a:p>
          <a:r>
            <a:rPr lang="fr-FR" sz="1800" dirty="0">
              <a:solidFill>
                <a:schemeClr val="tx1"/>
              </a:solidFill>
            </a:rPr>
            <a:t>Construire et se développer</a:t>
          </a:r>
        </a:p>
      </dgm:t>
    </dgm:pt>
    <dgm:pt modelId="{990B785E-AE45-4A11-9BA1-05FC3C1C1599}" type="parTrans" cxnId="{0897B776-473F-419A-84C7-B0E96710EB75}">
      <dgm:prSet/>
      <dgm:spPr/>
      <dgm:t>
        <a:bodyPr/>
        <a:lstStyle/>
        <a:p>
          <a:endParaRPr lang="fr-FR"/>
        </a:p>
      </dgm:t>
    </dgm:pt>
    <dgm:pt modelId="{6CBDADA8-85D7-4049-BF4B-D36BB9343E04}" type="sibTrans" cxnId="{0897B776-473F-419A-84C7-B0E96710EB75}">
      <dgm:prSet/>
      <dgm:spPr>
        <a:blipFill rotWithShape="1">
          <a:blip xmlns:r="http://schemas.openxmlformats.org/officeDocument/2006/relationships" r:embed="rId3"/>
          <a:srcRect/>
          <a:stretch>
            <a:fillRect l="-38000" r="-38000"/>
          </a:stretch>
        </a:blipFill>
        <a:ln>
          <a:solidFill>
            <a:srgbClr val="FF0000"/>
          </a:solidFill>
        </a:ln>
      </dgm:spPr>
      <dgm:t>
        <a:bodyPr/>
        <a:lstStyle/>
        <a:p>
          <a:endParaRPr lang="fr-FR"/>
        </a:p>
      </dgm:t>
    </dgm:pt>
    <dgm:pt modelId="{5089A49F-38AF-4975-B35C-B8BCA79F0481}">
      <dgm:prSet phldrT="[Texte]" custT="1"/>
      <dgm:spPr>
        <a:solidFill>
          <a:schemeClr val="accent2">
            <a:lumMod val="20000"/>
            <a:lumOff val="80000"/>
          </a:schemeClr>
        </a:solidFill>
        <a:ln>
          <a:solidFill>
            <a:srgbClr val="FF0000"/>
          </a:solidFill>
        </a:ln>
      </dgm:spPr>
      <dgm:t>
        <a:bodyPr/>
        <a:lstStyle/>
        <a:p>
          <a:r>
            <a:rPr lang="fr-FR" sz="1800" dirty="0">
              <a:solidFill>
                <a:schemeClr val="tx1"/>
              </a:solidFill>
            </a:rPr>
            <a:t>Mobiliser les bénévoles</a:t>
          </a:r>
        </a:p>
      </dgm:t>
    </dgm:pt>
    <dgm:pt modelId="{7EB4B53C-E678-41CD-AFE6-2572FB83B6BF}" type="parTrans" cxnId="{66CF9703-C6A4-41CA-B09A-01B346668834}">
      <dgm:prSet/>
      <dgm:spPr/>
      <dgm:t>
        <a:bodyPr/>
        <a:lstStyle/>
        <a:p>
          <a:endParaRPr lang="fr-FR"/>
        </a:p>
      </dgm:t>
    </dgm:pt>
    <dgm:pt modelId="{39D6CE32-811E-40F0-BF78-57FE7493C409}" type="sibTrans" cxnId="{66CF9703-C6A4-41CA-B09A-01B346668834}">
      <dgm:prSet/>
      <dgm:spPr>
        <a:noFill/>
        <a:ln>
          <a:solidFill>
            <a:schemeClr val="accent1"/>
          </a:solidFill>
        </a:ln>
      </dgm:spPr>
      <dgm:t>
        <a:bodyPr/>
        <a:lstStyle/>
        <a:p>
          <a:endParaRPr lang="fr-FR"/>
        </a:p>
      </dgm:t>
    </dgm:pt>
    <dgm:pt modelId="{80379DB7-AF66-4318-A04D-99B0E873E76D}" type="pres">
      <dgm:prSet presAssocID="{A0E05967-1196-40E8-A2DC-2CE151D4A4D3}" presName="Name0" presStyleCnt="0">
        <dgm:presLayoutVars>
          <dgm:chMax val="21"/>
          <dgm:chPref val="21"/>
        </dgm:presLayoutVars>
      </dgm:prSet>
      <dgm:spPr/>
    </dgm:pt>
    <dgm:pt modelId="{BDE0FE10-054A-42AA-8308-BB28A7F2824B}" type="pres">
      <dgm:prSet presAssocID="{DAD8E282-7403-476E-982D-F7044AFAE0CA}" presName="text1" presStyleCnt="0"/>
      <dgm:spPr/>
    </dgm:pt>
    <dgm:pt modelId="{CCAE71AD-FBE0-4E65-B559-470C13B055BA}" type="pres">
      <dgm:prSet presAssocID="{DAD8E282-7403-476E-982D-F7044AFAE0CA}" presName="textRepeatNode" presStyleLbl="alignNode1" presStyleIdx="0" presStyleCnt="6">
        <dgm:presLayoutVars>
          <dgm:chMax val="0"/>
          <dgm:chPref val="0"/>
          <dgm:bulletEnabled val="1"/>
        </dgm:presLayoutVars>
      </dgm:prSet>
      <dgm:spPr/>
    </dgm:pt>
    <dgm:pt modelId="{EF22CB90-C9A1-4863-822D-8B38D83AB975}" type="pres">
      <dgm:prSet presAssocID="{DAD8E282-7403-476E-982D-F7044AFAE0CA}" presName="textaccent1" presStyleCnt="0"/>
      <dgm:spPr/>
    </dgm:pt>
    <dgm:pt modelId="{58096770-95C8-445B-A31C-9E80D50E548D}" type="pres">
      <dgm:prSet presAssocID="{DAD8E282-7403-476E-982D-F7044AFAE0CA}" presName="accentRepeatNode" presStyleLbl="solidAlignAcc1" presStyleIdx="0" presStyleCnt="12" custFlipHor="1" custScaleX="36778" custScaleY="24248" custLinFactX="500000" custLinFactY="347485" custLinFactNeighborX="531170" custLinFactNeighborY="400000"/>
      <dgm:spPr>
        <a:ln>
          <a:solidFill>
            <a:schemeClr val="bg1"/>
          </a:solidFill>
        </a:ln>
      </dgm:spPr>
    </dgm:pt>
    <dgm:pt modelId="{BFFC6206-91BA-4EF0-A61D-C5B0BBA00D25}" type="pres">
      <dgm:prSet presAssocID="{6CBDADA8-85D7-4049-BF4B-D36BB9343E04}" presName="image1" presStyleCnt="0"/>
      <dgm:spPr/>
    </dgm:pt>
    <dgm:pt modelId="{EB515B37-096A-4789-8D2E-A73885B8C952}" type="pres">
      <dgm:prSet presAssocID="{6CBDADA8-85D7-4049-BF4B-D36BB9343E04}" presName="imageRepeatNode" presStyleLbl="alignAcc1" presStyleIdx="0" presStyleCnt="6"/>
      <dgm:spPr>
        <a:prstGeom prst="ellipse">
          <a:avLst/>
        </a:prstGeom>
      </dgm:spPr>
    </dgm:pt>
    <dgm:pt modelId="{C1EE46C5-B916-4DED-80E5-83315814BC8F}" type="pres">
      <dgm:prSet presAssocID="{6CBDADA8-85D7-4049-BF4B-D36BB9343E04}" presName="imageaccent1" presStyleCnt="0"/>
      <dgm:spPr/>
    </dgm:pt>
    <dgm:pt modelId="{CBCDABDA-F376-46BE-AB30-E52BB8478674}" type="pres">
      <dgm:prSet presAssocID="{6CBDADA8-85D7-4049-BF4B-D36BB9343E04}" presName="accentRepeatNode" presStyleLbl="solidAlignAcc1" presStyleIdx="1" presStyleCnt="12" custLinFactY="346790" custLinFactNeighborY="400000"/>
      <dgm:spPr>
        <a:ln>
          <a:solidFill>
            <a:schemeClr val="bg1"/>
          </a:solidFill>
        </a:ln>
      </dgm:spPr>
    </dgm:pt>
    <dgm:pt modelId="{73ADB6A3-4DEC-4FD5-B372-8AD85DFDCA04}" type="pres">
      <dgm:prSet presAssocID="{5089A49F-38AF-4975-B35C-B8BCA79F0481}" presName="text2" presStyleCnt="0"/>
      <dgm:spPr/>
    </dgm:pt>
    <dgm:pt modelId="{1862A431-D4BF-41F1-A911-357207B704A9}" type="pres">
      <dgm:prSet presAssocID="{5089A49F-38AF-4975-B35C-B8BCA79F0481}" presName="textRepeatNode" presStyleLbl="alignNode1" presStyleIdx="1" presStyleCnt="6" custLinFactNeighborX="1749" custLinFactNeighborY="1358">
        <dgm:presLayoutVars>
          <dgm:chMax val="0"/>
          <dgm:chPref val="0"/>
          <dgm:bulletEnabled val="1"/>
        </dgm:presLayoutVars>
      </dgm:prSet>
      <dgm:spPr/>
    </dgm:pt>
    <dgm:pt modelId="{C27E13C8-D146-4B1B-86AD-3F13961D7AA9}" type="pres">
      <dgm:prSet presAssocID="{5089A49F-38AF-4975-B35C-B8BCA79F0481}" presName="textaccent2" presStyleCnt="0"/>
      <dgm:spPr/>
    </dgm:pt>
    <dgm:pt modelId="{95FFD1A7-CFE5-41C9-A02B-109A11DF2911}" type="pres">
      <dgm:prSet presAssocID="{5089A49F-38AF-4975-B35C-B8BCA79F0481}" presName="accentRepeatNode" presStyleLbl="solidAlignAcc1" presStyleIdx="2" presStyleCnt="12" custLinFactY="96881" custLinFactNeighborY="100000"/>
      <dgm:spPr>
        <a:ln>
          <a:solidFill>
            <a:schemeClr val="bg1"/>
          </a:solidFill>
        </a:ln>
      </dgm:spPr>
    </dgm:pt>
    <dgm:pt modelId="{37589F65-E7EF-4765-A4B8-3B5D699B2557}" type="pres">
      <dgm:prSet presAssocID="{39D6CE32-811E-40F0-BF78-57FE7493C409}" presName="image2" presStyleCnt="0"/>
      <dgm:spPr/>
    </dgm:pt>
    <dgm:pt modelId="{590D0DAE-B2CF-4071-8432-46D343D39C73}" type="pres">
      <dgm:prSet presAssocID="{39D6CE32-811E-40F0-BF78-57FE7493C409}" presName="imageRepeatNode" presStyleLbl="alignAcc1" presStyleIdx="1" presStyleCnt="6"/>
      <dgm:spPr/>
    </dgm:pt>
    <dgm:pt modelId="{540555DF-E0CE-4028-8DEB-48ACB55CE433}" type="pres">
      <dgm:prSet presAssocID="{39D6CE32-811E-40F0-BF78-57FE7493C409}" presName="imageaccent2" presStyleCnt="0"/>
      <dgm:spPr/>
    </dgm:pt>
    <dgm:pt modelId="{098120EC-4271-4528-8068-DB8AF8846D80}" type="pres">
      <dgm:prSet presAssocID="{39D6CE32-811E-40F0-BF78-57FE7493C409}" presName="accentRepeatNode" presStyleLbl="solidAlignAcc1" presStyleIdx="3" presStyleCnt="12" custLinFactX="-28854" custLinFactY="69725" custLinFactNeighborX="-100000" custLinFactNeighborY="100000"/>
      <dgm:spPr>
        <a:ln>
          <a:solidFill>
            <a:schemeClr val="bg1"/>
          </a:solidFill>
        </a:ln>
      </dgm:spPr>
    </dgm:pt>
    <dgm:pt modelId="{825AE1E8-5329-4D2C-893E-6CEA7BD40BDE}" type="pres">
      <dgm:prSet presAssocID="{B0C25C8D-93E9-4B8E-98BB-89AA76DE65E3}" presName="text3" presStyleCnt="0"/>
      <dgm:spPr/>
    </dgm:pt>
    <dgm:pt modelId="{2C7E32F8-6683-48A4-9B27-F3CCF8DBE4D6}" type="pres">
      <dgm:prSet presAssocID="{B0C25C8D-93E9-4B8E-98BB-89AA76DE65E3}" presName="textRepeatNode" presStyleLbl="alignNode1" presStyleIdx="2" presStyleCnt="6">
        <dgm:presLayoutVars>
          <dgm:chMax val="0"/>
          <dgm:chPref val="0"/>
          <dgm:bulletEnabled val="1"/>
        </dgm:presLayoutVars>
      </dgm:prSet>
      <dgm:spPr/>
    </dgm:pt>
    <dgm:pt modelId="{5227E52E-703B-4A2C-849A-446F0C688DF8}" type="pres">
      <dgm:prSet presAssocID="{B0C25C8D-93E9-4B8E-98BB-89AA76DE65E3}" presName="textaccent3" presStyleCnt="0"/>
      <dgm:spPr/>
    </dgm:pt>
    <dgm:pt modelId="{E71320B9-DE5F-4911-9BDB-7413273E2C03}" type="pres">
      <dgm:prSet presAssocID="{B0C25C8D-93E9-4B8E-98BB-89AA76DE65E3}" presName="accentRepeatNode" presStyleLbl="solidAlignAcc1" presStyleIdx="4" presStyleCnt="12" custLinFactX="100000" custLinFactNeighborX="164681" custLinFactNeighborY="-95599"/>
      <dgm:spPr/>
    </dgm:pt>
    <dgm:pt modelId="{D065139B-5B8C-46CB-BE5C-4736971C74F8}" type="pres">
      <dgm:prSet presAssocID="{BEB1C5AB-1B8F-4D48-B5D0-A8E18E239E0D}" presName="image3" presStyleCnt="0"/>
      <dgm:spPr/>
    </dgm:pt>
    <dgm:pt modelId="{E48037AA-750F-4647-B17C-ED861479BA7C}" type="pres">
      <dgm:prSet presAssocID="{BEB1C5AB-1B8F-4D48-B5D0-A8E18E239E0D}" presName="imageRepeatNode" presStyleLbl="alignAcc1" presStyleIdx="2" presStyleCnt="6"/>
      <dgm:spPr/>
    </dgm:pt>
    <dgm:pt modelId="{F3F4834C-5CC4-47A8-B2E0-2CE275B2BBE7}" type="pres">
      <dgm:prSet presAssocID="{BEB1C5AB-1B8F-4D48-B5D0-A8E18E239E0D}" presName="imageaccent3" presStyleCnt="0"/>
      <dgm:spPr/>
    </dgm:pt>
    <dgm:pt modelId="{F13864F3-E8DA-48D4-AB3C-5815EA250F18}" type="pres">
      <dgm:prSet presAssocID="{BEB1C5AB-1B8F-4D48-B5D0-A8E18E239E0D}" presName="accentRepeatNode" presStyleLbl="solidAlignAcc1" presStyleIdx="5" presStyleCnt="12" custScaleX="236609" custScaleY="37697" custLinFactX="-773199" custLinFactY="-98238" custLinFactNeighborX="-800000" custLinFactNeighborY="-100000"/>
      <dgm:spPr>
        <a:ln>
          <a:solidFill>
            <a:schemeClr val="bg1"/>
          </a:solidFill>
        </a:ln>
      </dgm:spPr>
    </dgm:pt>
    <dgm:pt modelId="{C3C60249-E04A-4C0B-B586-F0C58341A01C}" type="pres">
      <dgm:prSet presAssocID="{0454C926-F61D-4FCC-A15D-091FFF18F722}" presName="text4" presStyleCnt="0"/>
      <dgm:spPr/>
    </dgm:pt>
    <dgm:pt modelId="{447EBFF0-CC22-47F4-AEC9-95D2B36547F0}" type="pres">
      <dgm:prSet presAssocID="{0454C926-F61D-4FCC-A15D-091FFF18F722}" presName="textRepeatNode" presStyleLbl="alignNode1" presStyleIdx="3" presStyleCnt="6">
        <dgm:presLayoutVars>
          <dgm:chMax val="0"/>
          <dgm:chPref val="0"/>
          <dgm:bulletEnabled val="1"/>
        </dgm:presLayoutVars>
      </dgm:prSet>
      <dgm:spPr/>
    </dgm:pt>
    <dgm:pt modelId="{86259D25-EE87-495E-BDEC-176F154D3EFC}" type="pres">
      <dgm:prSet presAssocID="{0454C926-F61D-4FCC-A15D-091FFF18F722}" presName="textaccent4" presStyleCnt="0"/>
      <dgm:spPr/>
    </dgm:pt>
    <dgm:pt modelId="{B74D2354-28D3-4216-BF8A-CA9CE259412B}" type="pres">
      <dgm:prSet presAssocID="{0454C926-F61D-4FCC-A15D-091FFF18F722}" presName="accentRepeatNode" presStyleLbl="solidAlignAcc1" presStyleIdx="6" presStyleCnt="12" custLinFactY="-400000" custLinFactNeighborX="-81998" custLinFactNeighborY="-450549"/>
      <dgm:spPr>
        <a:ln>
          <a:solidFill>
            <a:schemeClr val="bg1"/>
          </a:solidFill>
        </a:ln>
      </dgm:spPr>
    </dgm:pt>
    <dgm:pt modelId="{847DF1BB-9C39-4104-A636-71691127B838}" type="pres">
      <dgm:prSet presAssocID="{D35C246F-080A-4E53-B0BD-5778C674B0B6}" presName="image4" presStyleCnt="0"/>
      <dgm:spPr/>
    </dgm:pt>
    <dgm:pt modelId="{F3CDC9BB-95A3-456A-93D0-8B42C228F2CD}" type="pres">
      <dgm:prSet presAssocID="{D35C246F-080A-4E53-B0BD-5778C674B0B6}" presName="imageRepeatNode" presStyleLbl="alignAcc1" presStyleIdx="3" presStyleCnt="6"/>
      <dgm:spPr>
        <a:prstGeom prst="ellipse">
          <a:avLst/>
        </a:prstGeom>
      </dgm:spPr>
    </dgm:pt>
    <dgm:pt modelId="{A2580758-102C-4023-A8FF-CD4D5B40CEC6}" type="pres">
      <dgm:prSet presAssocID="{D35C246F-080A-4E53-B0BD-5778C674B0B6}" presName="imageaccent4" presStyleCnt="0"/>
      <dgm:spPr/>
    </dgm:pt>
    <dgm:pt modelId="{692C2C5B-9DB6-4F8F-8448-2D94D1C04E77}" type="pres">
      <dgm:prSet presAssocID="{D35C246F-080A-4E53-B0BD-5778C674B0B6}" presName="accentRepeatNode" presStyleLbl="solidAlignAcc1" presStyleIdx="7" presStyleCnt="12" custLinFactX="-104564" custLinFactY="-300000" custLinFactNeighborX="-200000" custLinFactNeighborY="-365322"/>
      <dgm:spPr>
        <a:ln>
          <a:solidFill>
            <a:schemeClr val="bg1"/>
          </a:solidFill>
        </a:ln>
      </dgm:spPr>
    </dgm:pt>
    <dgm:pt modelId="{202D5854-D4E5-48AD-86C3-4725A74CE4A9}" type="pres">
      <dgm:prSet presAssocID="{127470D2-D51E-43DA-A0A8-D0605A6CB648}" presName="text5" presStyleCnt="0"/>
      <dgm:spPr/>
    </dgm:pt>
    <dgm:pt modelId="{6B2C69B4-8316-426C-9E0B-78B15A4E9FAF}" type="pres">
      <dgm:prSet presAssocID="{127470D2-D51E-43DA-A0A8-D0605A6CB648}" presName="textRepeatNode" presStyleLbl="alignNode1" presStyleIdx="4" presStyleCnt="6">
        <dgm:presLayoutVars>
          <dgm:chMax val="0"/>
          <dgm:chPref val="0"/>
          <dgm:bulletEnabled val="1"/>
        </dgm:presLayoutVars>
      </dgm:prSet>
      <dgm:spPr/>
    </dgm:pt>
    <dgm:pt modelId="{BACBEA36-6B34-4F81-8942-07DD91366AB4}" type="pres">
      <dgm:prSet presAssocID="{127470D2-D51E-43DA-A0A8-D0605A6CB648}" presName="textaccent5" presStyleCnt="0"/>
      <dgm:spPr/>
    </dgm:pt>
    <dgm:pt modelId="{D53F2204-02EC-4E60-A56D-04085AFD7FD5}" type="pres">
      <dgm:prSet presAssocID="{127470D2-D51E-43DA-A0A8-D0605A6CB648}" presName="accentRepeatNode" presStyleLbl="solidAlignAcc1" presStyleIdx="8" presStyleCnt="12" custLinFactY="181375" custLinFactNeighborY="200000"/>
      <dgm:spPr/>
    </dgm:pt>
    <dgm:pt modelId="{E6C06ADC-FC86-438B-BD1C-4F386319E1C3}" type="pres">
      <dgm:prSet presAssocID="{3EF01566-4021-442A-87FD-88082C133578}" presName="image5" presStyleCnt="0"/>
      <dgm:spPr/>
    </dgm:pt>
    <dgm:pt modelId="{1319EA8A-A161-4F10-90C9-3D43636BFF64}" type="pres">
      <dgm:prSet presAssocID="{3EF01566-4021-442A-87FD-88082C133578}" presName="imageRepeatNode" presStyleLbl="alignAcc1" presStyleIdx="4" presStyleCnt="6"/>
      <dgm:spPr>
        <a:prstGeom prst="flowChartConnector">
          <a:avLst/>
        </a:prstGeom>
      </dgm:spPr>
    </dgm:pt>
    <dgm:pt modelId="{4D762E9D-C46F-4BCB-9AEB-002D8864FF16}" type="pres">
      <dgm:prSet presAssocID="{3EF01566-4021-442A-87FD-88082C133578}" presName="imageaccent5" presStyleCnt="0"/>
      <dgm:spPr/>
    </dgm:pt>
    <dgm:pt modelId="{5C005689-A662-4E24-B576-14D0D8741CB6}" type="pres">
      <dgm:prSet presAssocID="{3EF01566-4021-442A-87FD-88082C133578}" presName="accentRepeatNode" presStyleLbl="solidAlignAcc1" presStyleIdx="9" presStyleCnt="12" custLinFactY="-62936" custLinFactNeighborY="-100000"/>
      <dgm:spPr>
        <a:ln>
          <a:solidFill>
            <a:schemeClr val="bg1"/>
          </a:solidFill>
        </a:ln>
      </dgm:spPr>
    </dgm:pt>
    <dgm:pt modelId="{EE8960A3-CE91-476C-9780-E17D85E10B82}" type="pres">
      <dgm:prSet presAssocID="{D7FA3BDF-C9B2-4E1E-8224-C919F8B50312}" presName="text6" presStyleCnt="0"/>
      <dgm:spPr/>
    </dgm:pt>
    <dgm:pt modelId="{F9AE448B-A994-47ED-87C3-DB2DF4106310}" type="pres">
      <dgm:prSet presAssocID="{D7FA3BDF-C9B2-4E1E-8224-C919F8B50312}" presName="textRepeatNode" presStyleLbl="alignNode1" presStyleIdx="5" presStyleCnt="6">
        <dgm:presLayoutVars>
          <dgm:chMax val="0"/>
          <dgm:chPref val="0"/>
          <dgm:bulletEnabled val="1"/>
        </dgm:presLayoutVars>
      </dgm:prSet>
      <dgm:spPr/>
    </dgm:pt>
    <dgm:pt modelId="{F75C2E7F-D09D-4896-A3CD-C2B041F88141}" type="pres">
      <dgm:prSet presAssocID="{D7FA3BDF-C9B2-4E1E-8224-C919F8B50312}" presName="textaccent6" presStyleCnt="0"/>
      <dgm:spPr/>
    </dgm:pt>
    <dgm:pt modelId="{5D91BF17-1402-45F8-9345-05856B3FFD5C}" type="pres">
      <dgm:prSet presAssocID="{D7FA3BDF-C9B2-4E1E-8224-C919F8B50312}" presName="accentRepeatNode" presStyleLbl="solidAlignAcc1" presStyleIdx="10" presStyleCnt="12" custLinFactY="96881" custLinFactNeighborY="100000"/>
      <dgm:spPr>
        <a:ln>
          <a:solidFill>
            <a:schemeClr val="bg1"/>
          </a:solidFill>
        </a:ln>
      </dgm:spPr>
    </dgm:pt>
    <dgm:pt modelId="{6CB86098-9FCE-45BF-8CCC-62E7B9637909}" type="pres">
      <dgm:prSet presAssocID="{717A17AF-B81B-4F80-96A7-F7DABEEF5E12}" presName="image6" presStyleCnt="0"/>
      <dgm:spPr/>
    </dgm:pt>
    <dgm:pt modelId="{0BB6505C-7BDF-4A51-867F-D9B674C2795B}" type="pres">
      <dgm:prSet presAssocID="{717A17AF-B81B-4F80-96A7-F7DABEEF5E12}" presName="imageRepeatNode" presStyleLbl="alignAcc1" presStyleIdx="5" presStyleCnt="6"/>
      <dgm:spPr/>
    </dgm:pt>
    <dgm:pt modelId="{C7F9B1A8-E40A-406F-90EB-F46AA05C7C3C}" type="pres">
      <dgm:prSet presAssocID="{717A17AF-B81B-4F80-96A7-F7DABEEF5E12}" presName="imageaccent6" presStyleCnt="0"/>
      <dgm:spPr/>
    </dgm:pt>
    <dgm:pt modelId="{AF1148CE-A7DC-471E-A984-CEB188E9E5E5}" type="pres">
      <dgm:prSet presAssocID="{717A17AF-B81B-4F80-96A7-F7DABEEF5E12}" presName="accentRepeatNode" presStyleLbl="solidAlignAcc1" presStyleIdx="11" presStyleCnt="12" custFlipVert="1" custScaleX="100000" custScaleY="36932" custLinFactX="-800000" custLinFactY="336514" custLinFactNeighborX="-826728" custLinFactNeighborY="400000"/>
      <dgm:spPr>
        <a:ln>
          <a:solidFill>
            <a:schemeClr val="bg1"/>
          </a:solidFill>
        </a:ln>
      </dgm:spPr>
    </dgm:pt>
  </dgm:ptLst>
  <dgm:cxnLst>
    <dgm:cxn modelId="{66CF9703-C6A4-41CA-B09A-01B346668834}" srcId="{A0E05967-1196-40E8-A2DC-2CE151D4A4D3}" destId="{5089A49F-38AF-4975-B35C-B8BCA79F0481}" srcOrd="1" destOrd="0" parTransId="{7EB4B53C-E678-41CD-AFE6-2572FB83B6BF}" sibTransId="{39D6CE32-811E-40F0-BF78-57FE7493C409}"/>
    <dgm:cxn modelId="{A6B02A10-5EBC-458A-A63A-381C4C151AE8}" srcId="{A0E05967-1196-40E8-A2DC-2CE151D4A4D3}" destId="{0454C926-F61D-4FCC-A15D-091FFF18F722}" srcOrd="3" destOrd="0" parTransId="{83C83BC4-CDAE-48FC-B0A9-3C1D4860F9BE}" sibTransId="{D35C246F-080A-4E53-B0BD-5778C674B0B6}"/>
    <dgm:cxn modelId="{A72B6813-E393-47CA-A15C-E7D0B1527B87}" type="presOf" srcId="{D35C246F-080A-4E53-B0BD-5778C674B0B6}" destId="{F3CDC9BB-95A3-456A-93D0-8B42C228F2CD}" srcOrd="0" destOrd="0" presId="urn:microsoft.com/office/officeart/2008/layout/HexagonCluster"/>
    <dgm:cxn modelId="{4E754F24-9D3C-4C89-B49C-666137F08473}" type="presOf" srcId="{5089A49F-38AF-4975-B35C-B8BCA79F0481}" destId="{1862A431-D4BF-41F1-A911-357207B704A9}" srcOrd="0" destOrd="0" presId="urn:microsoft.com/office/officeart/2008/layout/HexagonCluster"/>
    <dgm:cxn modelId="{60706C2A-40B2-4E3D-9C66-D7884D205F7B}" type="presOf" srcId="{D7FA3BDF-C9B2-4E1E-8224-C919F8B50312}" destId="{F9AE448B-A994-47ED-87C3-DB2DF4106310}" srcOrd="0" destOrd="0" presId="urn:microsoft.com/office/officeart/2008/layout/HexagonCluster"/>
    <dgm:cxn modelId="{CF54752A-9BC5-444E-B1B5-8069B059CCB1}" type="presOf" srcId="{127470D2-D51E-43DA-A0A8-D0605A6CB648}" destId="{6B2C69B4-8316-426C-9E0B-78B15A4E9FAF}" srcOrd="0" destOrd="0" presId="urn:microsoft.com/office/officeart/2008/layout/HexagonCluster"/>
    <dgm:cxn modelId="{AD1E5E2B-C772-4F48-BFA2-032A4E788AEC}" type="presOf" srcId="{39D6CE32-811E-40F0-BF78-57FE7493C409}" destId="{590D0DAE-B2CF-4071-8432-46D343D39C73}" srcOrd="0" destOrd="0" presId="urn:microsoft.com/office/officeart/2008/layout/HexagonCluster"/>
    <dgm:cxn modelId="{E0372663-0F62-424A-B112-21134181A087}" type="presOf" srcId="{0454C926-F61D-4FCC-A15D-091FFF18F722}" destId="{447EBFF0-CC22-47F4-AEC9-95D2B36547F0}" srcOrd="0" destOrd="0" presId="urn:microsoft.com/office/officeart/2008/layout/HexagonCluster"/>
    <dgm:cxn modelId="{9F63B946-B8E7-4754-ACB5-0A2FAE64B796}" type="presOf" srcId="{3EF01566-4021-442A-87FD-88082C133578}" destId="{1319EA8A-A161-4F10-90C9-3D43636BFF64}" srcOrd="0" destOrd="0" presId="urn:microsoft.com/office/officeart/2008/layout/HexagonCluster"/>
    <dgm:cxn modelId="{F1446A4B-483E-45AB-BE80-20BCDAFE90FD}" type="presOf" srcId="{717A17AF-B81B-4F80-96A7-F7DABEEF5E12}" destId="{0BB6505C-7BDF-4A51-867F-D9B674C2795B}" srcOrd="0" destOrd="0" presId="urn:microsoft.com/office/officeart/2008/layout/HexagonCluster"/>
    <dgm:cxn modelId="{AA01F752-55DD-4E1D-97C8-978AABC27A22}" type="presOf" srcId="{6CBDADA8-85D7-4049-BF4B-D36BB9343E04}" destId="{EB515B37-096A-4789-8D2E-A73885B8C952}" srcOrd="0" destOrd="0" presId="urn:microsoft.com/office/officeart/2008/layout/HexagonCluster"/>
    <dgm:cxn modelId="{0897B776-473F-419A-84C7-B0E96710EB75}" srcId="{A0E05967-1196-40E8-A2DC-2CE151D4A4D3}" destId="{DAD8E282-7403-476E-982D-F7044AFAE0CA}" srcOrd="0" destOrd="0" parTransId="{990B785E-AE45-4A11-9BA1-05FC3C1C1599}" sibTransId="{6CBDADA8-85D7-4049-BF4B-D36BB9343E04}"/>
    <dgm:cxn modelId="{83C2AE89-68C8-4701-9272-AE089151DDA3}" srcId="{A0E05967-1196-40E8-A2DC-2CE151D4A4D3}" destId="{B0C25C8D-93E9-4B8E-98BB-89AA76DE65E3}" srcOrd="2" destOrd="0" parTransId="{79F0BF8A-EDA7-410E-B73E-D29F99C5850B}" sibTransId="{BEB1C5AB-1B8F-4D48-B5D0-A8E18E239E0D}"/>
    <dgm:cxn modelId="{A161F689-8A5C-4171-9FD6-43FC11EEB27D}" type="presOf" srcId="{B0C25C8D-93E9-4B8E-98BB-89AA76DE65E3}" destId="{2C7E32F8-6683-48A4-9B27-F3CCF8DBE4D6}" srcOrd="0" destOrd="0" presId="urn:microsoft.com/office/officeart/2008/layout/HexagonCluster"/>
    <dgm:cxn modelId="{A085CF93-8367-4532-823F-BB5AFE2F2929}" type="presOf" srcId="{A0E05967-1196-40E8-A2DC-2CE151D4A4D3}" destId="{80379DB7-AF66-4318-A04D-99B0E873E76D}" srcOrd="0" destOrd="0" presId="urn:microsoft.com/office/officeart/2008/layout/HexagonCluster"/>
    <dgm:cxn modelId="{ECA05599-E2F7-4CD9-9442-C48ED0292ABE}" srcId="{A0E05967-1196-40E8-A2DC-2CE151D4A4D3}" destId="{127470D2-D51E-43DA-A0A8-D0605A6CB648}" srcOrd="4" destOrd="0" parTransId="{07983880-2147-494B-9A6D-42AC0E62CF7E}" sibTransId="{3EF01566-4021-442A-87FD-88082C133578}"/>
    <dgm:cxn modelId="{4EDBFAB3-199E-42A6-A7F4-6092FCCD86B8}" type="presOf" srcId="{BEB1C5AB-1B8F-4D48-B5D0-A8E18E239E0D}" destId="{E48037AA-750F-4647-B17C-ED861479BA7C}" srcOrd="0" destOrd="0" presId="urn:microsoft.com/office/officeart/2008/layout/HexagonCluster"/>
    <dgm:cxn modelId="{0DE3F5BC-884F-4B26-B73F-A335019982DE}" type="presOf" srcId="{DAD8E282-7403-476E-982D-F7044AFAE0CA}" destId="{CCAE71AD-FBE0-4E65-B559-470C13B055BA}" srcOrd="0" destOrd="0" presId="urn:microsoft.com/office/officeart/2008/layout/HexagonCluster"/>
    <dgm:cxn modelId="{E1415ECF-25BE-4F6F-BEB1-1F2D9EC4E061}" srcId="{A0E05967-1196-40E8-A2DC-2CE151D4A4D3}" destId="{D7FA3BDF-C9B2-4E1E-8224-C919F8B50312}" srcOrd="5" destOrd="0" parTransId="{050617A3-ABEC-45B3-A533-BAC660D1F953}" sibTransId="{717A17AF-B81B-4F80-96A7-F7DABEEF5E12}"/>
    <dgm:cxn modelId="{2ED6B98F-7CF8-4749-BA41-BC7A609DB8D6}" type="presParOf" srcId="{80379DB7-AF66-4318-A04D-99B0E873E76D}" destId="{BDE0FE10-054A-42AA-8308-BB28A7F2824B}" srcOrd="0" destOrd="0" presId="urn:microsoft.com/office/officeart/2008/layout/HexagonCluster"/>
    <dgm:cxn modelId="{57F3F737-DB02-4AAF-A8AA-352A2184C1FB}" type="presParOf" srcId="{BDE0FE10-054A-42AA-8308-BB28A7F2824B}" destId="{CCAE71AD-FBE0-4E65-B559-470C13B055BA}" srcOrd="0" destOrd="0" presId="urn:microsoft.com/office/officeart/2008/layout/HexagonCluster"/>
    <dgm:cxn modelId="{B6F86598-AAE5-49DA-9915-9FAD52A26916}" type="presParOf" srcId="{80379DB7-AF66-4318-A04D-99B0E873E76D}" destId="{EF22CB90-C9A1-4863-822D-8B38D83AB975}" srcOrd="1" destOrd="0" presId="urn:microsoft.com/office/officeart/2008/layout/HexagonCluster"/>
    <dgm:cxn modelId="{538D6693-B304-4446-9450-8EBB2E5D762C}" type="presParOf" srcId="{EF22CB90-C9A1-4863-822D-8B38D83AB975}" destId="{58096770-95C8-445B-A31C-9E80D50E548D}" srcOrd="0" destOrd="0" presId="urn:microsoft.com/office/officeart/2008/layout/HexagonCluster"/>
    <dgm:cxn modelId="{79EF8718-BB27-4351-A939-1DB134DCA7C5}" type="presParOf" srcId="{80379DB7-AF66-4318-A04D-99B0E873E76D}" destId="{BFFC6206-91BA-4EF0-A61D-C5B0BBA00D25}" srcOrd="2" destOrd="0" presId="urn:microsoft.com/office/officeart/2008/layout/HexagonCluster"/>
    <dgm:cxn modelId="{A50192C9-41A1-49E4-B7D0-F4D6E8281574}" type="presParOf" srcId="{BFFC6206-91BA-4EF0-A61D-C5B0BBA00D25}" destId="{EB515B37-096A-4789-8D2E-A73885B8C952}" srcOrd="0" destOrd="0" presId="urn:microsoft.com/office/officeart/2008/layout/HexagonCluster"/>
    <dgm:cxn modelId="{CE86E605-B7F3-4037-A862-9D99BFB0C985}" type="presParOf" srcId="{80379DB7-AF66-4318-A04D-99B0E873E76D}" destId="{C1EE46C5-B916-4DED-80E5-83315814BC8F}" srcOrd="3" destOrd="0" presId="urn:microsoft.com/office/officeart/2008/layout/HexagonCluster"/>
    <dgm:cxn modelId="{AE2E5591-B42E-4A32-8173-CD736B108A7C}" type="presParOf" srcId="{C1EE46C5-B916-4DED-80E5-83315814BC8F}" destId="{CBCDABDA-F376-46BE-AB30-E52BB8478674}" srcOrd="0" destOrd="0" presId="urn:microsoft.com/office/officeart/2008/layout/HexagonCluster"/>
    <dgm:cxn modelId="{B70A04D8-3F8D-43F1-BDB3-815771AB8A5A}" type="presParOf" srcId="{80379DB7-AF66-4318-A04D-99B0E873E76D}" destId="{73ADB6A3-4DEC-4FD5-B372-8AD85DFDCA04}" srcOrd="4" destOrd="0" presId="urn:microsoft.com/office/officeart/2008/layout/HexagonCluster"/>
    <dgm:cxn modelId="{41E5D746-F7CC-475C-BDBC-4A4107EA40B5}" type="presParOf" srcId="{73ADB6A3-4DEC-4FD5-B372-8AD85DFDCA04}" destId="{1862A431-D4BF-41F1-A911-357207B704A9}" srcOrd="0" destOrd="0" presId="urn:microsoft.com/office/officeart/2008/layout/HexagonCluster"/>
    <dgm:cxn modelId="{0EAC2FC9-6DE8-4DCF-AAA1-5FBCDAE97E4E}" type="presParOf" srcId="{80379DB7-AF66-4318-A04D-99B0E873E76D}" destId="{C27E13C8-D146-4B1B-86AD-3F13961D7AA9}" srcOrd="5" destOrd="0" presId="urn:microsoft.com/office/officeart/2008/layout/HexagonCluster"/>
    <dgm:cxn modelId="{5B50D913-D28F-4D4C-9D5F-760074135CA8}" type="presParOf" srcId="{C27E13C8-D146-4B1B-86AD-3F13961D7AA9}" destId="{95FFD1A7-CFE5-41C9-A02B-109A11DF2911}" srcOrd="0" destOrd="0" presId="urn:microsoft.com/office/officeart/2008/layout/HexagonCluster"/>
    <dgm:cxn modelId="{7ACBDEDD-0E39-4811-8802-BC9B714CCC2C}" type="presParOf" srcId="{80379DB7-AF66-4318-A04D-99B0E873E76D}" destId="{37589F65-E7EF-4765-A4B8-3B5D699B2557}" srcOrd="6" destOrd="0" presId="urn:microsoft.com/office/officeart/2008/layout/HexagonCluster"/>
    <dgm:cxn modelId="{9EB8336E-2E73-4B36-8C79-043301DC7025}" type="presParOf" srcId="{37589F65-E7EF-4765-A4B8-3B5D699B2557}" destId="{590D0DAE-B2CF-4071-8432-46D343D39C73}" srcOrd="0" destOrd="0" presId="urn:microsoft.com/office/officeart/2008/layout/HexagonCluster"/>
    <dgm:cxn modelId="{B4F06FA2-32CD-4C02-986F-4686A4CFD4FB}" type="presParOf" srcId="{80379DB7-AF66-4318-A04D-99B0E873E76D}" destId="{540555DF-E0CE-4028-8DEB-48ACB55CE433}" srcOrd="7" destOrd="0" presId="urn:microsoft.com/office/officeart/2008/layout/HexagonCluster"/>
    <dgm:cxn modelId="{21688C12-1741-40F8-8DDA-73B36B11552C}" type="presParOf" srcId="{540555DF-E0CE-4028-8DEB-48ACB55CE433}" destId="{098120EC-4271-4528-8068-DB8AF8846D80}" srcOrd="0" destOrd="0" presId="urn:microsoft.com/office/officeart/2008/layout/HexagonCluster"/>
    <dgm:cxn modelId="{FF30433B-62B2-4CAF-9F09-BE6FDD434316}" type="presParOf" srcId="{80379DB7-AF66-4318-A04D-99B0E873E76D}" destId="{825AE1E8-5329-4D2C-893E-6CEA7BD40BDE}" srcOrd="8" destOrd="0" presId="urn:microsoft.com/office/officeart/2008/layout/HexagonCluster"/>
    <dgm:cxn modelId="{F2A69284-BE25-4A4C-86A4-9AFCB697E764}" type="presParOf" srcId="{825AE1E8-5329-4D2C-893E-6CEA7BD40BDE}" destId="{2C7E32F8-6683-48A4-9B27-F3CCF8DBE4D6}" srcOrd="0" destOrd="0" presId="urn:microsoft.com/office/officeart/2008/layout/HexagonCluster"/>
    <dgm:cxn modelId="{3ADBE6B0-6D58-4C5C-8EC4-C9F8CDCD4D87}" type="presParOf" srcId="{80379DB7-AF66-4318-A04D-99B0E873E76D}" destId="{5227E52E-703B-4A2C-849A-446F0C688DF8}" srcOrd="9" destOrd="0" presId="urn:microsoft.com/office/officeart/2008/layout/HexagonCluster"/>
    <dgm:cxn modelId="{3EA1EB2F-E62E-4DBA-B4D3-4ABB47F4250C}" type="presParOf" srcId="{5227E52E-703B-4A2C-849A-446F0C688DF8}" destId="{E71320B9-DE5F-4911-9BDB-7413273E2C03}" srcOrd="0" destOrd="0" presId="urn:microsoft.com/office/officeart/2008/layout/HexagonCluster"/>
    <dgm:cxn modelId="{D8591886-A736-431F-A1F3-C9640566B770}" type="presParOf" srcId="{80379DB7-AF66-4318-A04D-99B0E873E76D}" destId="{D065139B-5B8C-46CB-BE5C-4736971C74F8}" srcOrd="10" destOrd="0" presId="urn:microsoft.com/office/officeart/2008/layout/HexagonCluster"/>
    <dgm:cxn modelId="{F6D07C9E-5523-4860-AC5F-5FCFE48B0C95}" type="presParOf" srcId="{D065139B-5B8C-46CB-BE5C-4736971C74F8}" destId="{E48037AA-750F-4647-B17C-ED861479BA7C}" srcOrd="0" destOrd="0" presId="urn:microsoft.com/office/officeart/2008/layout/HexagonCluster"/>
    <dgm:cxn modelId="{B8127FB1-86DA-4478-99E2-F416B72E28ED}" type="presParOf" srcId="{80379DB7-AF66-4318-A04D-99B0E873E76D}" destId="{F3F4834C-5CC4-47A8-B2E0-2CE275B2BBE7}" srcOrd="11" destOrd="0" presId="urn:microsoft.com/office/officeart/2008/layout/HexagonCluster"/>
    <dgm:cxn modelId="{7AC8F585-1AF1-4CCB-BABD-306AC6A8292C}" type="presParOf" srcId="{F3F4834C-5CC4-47A8-B2E0-2CE275B2BBE7}" destId="{F13864F3-E8DA-48D4-AB3C-5815EA250F18}" srcOrd="0" destOrd="0" presId="urn:microsoft.com/office/officeart/2008/layout/HexagonCluster"/>
    <dgm:cxn modelId="{CF5A23C8-AB72-4CC1-857C-FDC0D7DC00D9}" type="presParOf" srcId="{80379DB7-AF66-4318-A04D-99B0E873E76D}" destId="{C3C60249-E04A-4C0B-B586-F0C58341A01C}" srcOrd="12" destOrd="0" presId="urn:microsoft.com/office/officeart/2008/layout/HexagonCluster"/>
    <dgm:cxn modelId="{48633555-00FE-4985-9B31-FB3909FDAA51}" type="presParOf" srcId="{C3C60249-E04A-4C0B-B586-F0C58341A01C}" destId="{447EBFF0-CC22-47F4-AEC9-95D2B36547F0}" srcOrd="0" destOrd="0" presId="urn:microsoft.com/office/officeart/2008/layout/HexagonCluster"/>
    <dgm:cxn modelId="{DDC532AB-0D50-4795-84BA-2D19CA51978F}" type="presParOf" srcId="{80379DB7-AF66-4318-A04D-99B0E873E76D}" destId="{86259D25-EE87-495E-BDEC-176F154D3EFC}" srcOrd="13" destOrd="0" presId="urn:microsoft.com/office/officeart/2008/layout/HexagonCluster"/>
    <dgm:cxn modelId="{FF4781C5-2C36-405F-9A7A-3FA01385FD5E}" type="presParOf" srcId="{86259D25-EE87-495E-BDEC-176F154D3EFC}" destId="{B74D2354-28D3-4216-BF8A-CA9CE259412B}" srcOrd="0" destOrd="0" presId="urn:microsoft.com/office/officeart/2008/layout/HexagonCluster"/>
    <dgm:cxn modelId="{6550CE15-3DD3-4E84-B51C-B3D0448523CF}" type="presParOf" srcId="{80379DB7-AF66-4318-A04D-99B0E873E76D}" destId="{847DF1BB-9C39-4104-A636-71691127B838}" srcOrd="14" destOrd="0" presId="urn:microsoft.com/office/officeart/2008/layout/HexagonCluster"/>
    <dgm:cxn modelId="{BFA1D284-95C0-42CB-8C15-8FDA704F6F97}" type="presParOf" srcId="{847DF1BB-9C39-4104-A636-71691127B838}" destId="{F3CDC9BB-95A3-456A-93D0-8B42C228F2CD}" srcOrd="0" destOrd="0" presId="urn:microsoft.com/office/officeart/2008/layout/HexagonCluster"/>
    <dgm:cxn modelId="{42BC5D8B-0858-40ED-AF26-4541D19ECB3A}" type="presParOf" srcId="{80379DB7-AF66-4318-A04D-99B0E873E76D}" destId="{A2580758-102C-4023-A8FF-CD4D5B40CEC6}" srcOrd="15" destOrd="0" presId="urn:microsoft.com/office/officeart/2008/layout/HexagonCluster"/>
    <dgm:cxn modelId="{5DCF5D68-DF66-4456-9A0C-99CE56BABFD2}" type="presParOf" srcId="{A2580758-102C-4023-A8FF-CD4D5B40CEC6}" destId="{692C2C5B-9DB6-4F8F-8448-2D94D1C04E77}" srcOrd="0" destOrd="0" presId="urn:microsoft.com/office/officeart/2008/layout/HexagonCluster"/>
    <dgm:cxn modelId="{2C3FD505-7860-4560-BC4E-4C521B870520}" type="presParOf" srcId="{80379DB7-AF66-4318-A04D-99B0E873E76D}" destId="{202D5854-D4E5-48AD-86C3-4725A74CE4A9}" srcOrd="16" destOrd="0" presId="urn:microsoft.com/office/officeart/2008/layout/HexagonCluster"/>
    <dgm:cxn modelId="{8E57FD52-CB3C-4E6F-941B-A9081DBB038B}" type="presParOf" srcId="{202D5854-D4E5-48AD-86C3-4725A74CE4A9}" destId="{6B2C69B4-8316-426C-9E0B-78B15A4E9FAF}" srcOrd="0" destOrd="0" presId="urn:microsoft.com/office/officeart/2008/layout/HexagonCluster"/>
    <dgm:cxn modelId="{BA7847B4-2A10-4E03-BAC6-FB2879820F23}" type="presParOf" srcId="{80379DB7-AF66-4318-A04D-99B0E873E76D}" destId="{BACBEA36-6B34-4F81-8942-07DD91366AB4}" srcOrd="17" destOrd="0" presId="urn:microsoft.com/office/officeart/2008/layout/HexagonCluster"/>
    <dgm:cxn modelId="{28EBD699-3569-4719-A6BF-ABF80BFAA0C9}" type="presParOf" srcId="{BACBEA36-6B34-4F81-8942-07DD91366AB4}" destId="{D53F2204-02EC-4E60-A56D-04085AFD7FD5}" srcOrd="0" destOrd="0" presId="urn:microsoft.com/office/officeart/2008/layout/HexagonCluster"/>
    <dgm:cxn modelId="{6BBFA57B-3BE4-4535-AF40-5BE7CD8460FF}" type="presParOf" srcId="{80379DB7-AF66-4318-A04D-99B0E873E76D}" destId="{E6C06ADC-FC86-438B-BD1C-4F386319E1C3}" srcOrd="18" destOrd="0" presId="urn:microsoft.com/office/officeart/2008/layout/HexagonCluster"/>
    <dgm:cxn modelId="{7360E43E-0BBF-453B-A4EC-AEE02EAC28F4}" type="presParOf" srcId="{E6C06ADC-FC86-438B-BD1C-4F386319E1C3}" destId="{1319EA8A-A161-4F10-90C9-3D43636BFF64}" srcOrd="0" destOrd="0" presId="urn:microsoft.com/office/officeart/2008/layout/HexagonCluster"/>
    <dgm:cxn modelId="{34B374AA-A719-4625-AE24-04300D26860A}" type="presParOf" srcId="{80379DB7-AF66-4318-A04D-99B0E873E76D}" destId="{4D762E9D-C46F-4BCB-9AEB-002D8864FF16}" srcOrd="19" destOrd="0" presId="urn:microsoft.com/office/officeart/2008/layout/HexagonCluster"/>
    <dgm:cxn modelId="{1D49F791-B3B9-4216-89D8-B4DD83A67F76}" type="presParOf" srcId="{4D762E9D-C46F-4BCB-9AEB-002D8864FF16}" destId="{5C005689-A662-4E24-B576-14D0D8741CB6}" srcOrd="0" destOrd="0" presId="urn:microsoft.com/office/officeart/2008/layout/HexagonCluster"/>
    <dgm:cxn modelId="{9B03ADA1-CF8A-49CE-8ACC-F6CEDC45ABCF}" type="presParOf" srcId="{80379DB7-AF66-4318-A04D-99B0E873E76D}" destId="{EE8960A3-CE91-476C-9780-E17D85E10B82}" srcOrd="20" destOrd="0" presId="urn:microsoft.com/office/officeart/2008/layout/HexagonCluster"/>
    <dgm:cxn modelId="{FE224A88-AA6E-4CD8-8FCB-22C94EF7E180}" type="presParOf" srcId="{EE8960A3-CE91-476C-9780-E17D85E10B82}" destId="{F9AE448B-A994-47ED-87C3-DB2DF4106310}" srcOrd="0" destOrd="0" presId="urn:microsoft.com/office/officeart/2008/layout/HexagonCluster"/>
    <dgm:cxn modelId="{52507652-96B3-4DC2-B876-FBA44ADE7686}" type="presParOf" srcId="{80379DB7-AF66-4318-A04D-99B0E873E76D}" destId="{F75C2E7F-D09D-4896-A3CD-C2B041F88141}" srcOrd="21" destOrd="0" presId="urn:microsoft.com/office/officeart/2008/layout/HexagonCluster"/>
    <dgm:cxn modelId="{B3FF8E18-64FA-4FB3-A7C2-11B7D6A9A9CE}" type="presParOf" srcId="{F75C2E7F-D09D-4896-A3CD-C2B041F88141}" destId="{5D91BF17-1402-45F8-9345-05856B3FFD5C}" srcOrd="0" destOrd="0" presId="urn:microsoft.com/office/officeart/2008/layout/HexagonCluster"/>
    <dgm:cxn modelId="{F0221F3C-F5A7-4CFD-BEDC-368064A1BEB9}" type="presParOf" srcId="{80379DB7-AF66-4318-A04D-99B0E873E76D}" destId="{6CB86098-9FCE-45BF-8CCC-62E7B9637909}" srcOrd="22" destOrd="0" presId="urn:microsoft.com/office/officeart/2008/layout/HexagonCluster"/>
    <dgm:cxn modelId="{CCF2BAB3-A356-408C-884D-D0609B00D74A}" type="presParOf" srcId="{6CB86098-9FCE-45BF-8CCC-62E7B9637909}" destId="{0BB6505C-7BDF-4A51-867F-D9B674C2795B}" srcOrd="0" destOrd="0" presId="urn:microsoft.com/office/officeart/2008/layout/HexagonCluster"/>
    <dgm:cxn modelId="{C77A1C0F-7F9F-4E1C-AF9D-307F90C25BD5}" type="presParOf" srcId="{80379DB7-AF66-4318-A04D-99B0E873E76D}" destId="{C7F9B1A8-E40A-406F-90EB-F46AA05C7C3C}" srcOrd="23" destOrd="0" presId="urn:microsoft.com/office/officeart/2008/layout/HexagonCluster"/>
    <dgm:cxn modelId="{516770B3-56B0-4018-AB74-537C3690898A}" type="presParOf" srcId="{C7F9B1A8-E40A-406F-90EB-F46AA05C7C3C}" destId="{AF1148CE-A7DC-471E-A984-CEB188E9E5E5}" srcOrd="0" destOrd="0" presId="urn:microsoft.com/office/officeart/2008/layout/HexagonCluster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9483404-87BE-4819-82F8-83EA91816804}" type="doc">
      <dgm:prSet loTypeId="urn:microsoft.com/office/officeart/2005/8/layout/chevron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72E86071-AE45-4C9F-85CE-DA02235EC08F}">
      <dgm:prSet phldrT="[Texte]"/>
      <dgm:spPr>
        <a:solidFill>
          <a:schemeClr val="accent6"/>
        </a:solidFill>
      </dgm:spPr>
      <dgm:t>
        <a:bodyPr/>
        <a:lstStyle/>
        <a:p>
          <a:r>
            <a:rPr lang="fr-FR" b="1" dirty="0">
              <a:solidFill>
                <a:schemeClr val="tx1"/>
              </a:solidFill>
            </a:rPr>
            <a:t>Mobiliser les bénévoles</a:t>
          </a:r>
        </a:p>
      </dgm:t>
    </dgm:pt>
    <dgm:pt modelId="{B7EE81E3-EA50-40CC-801B-14FFBCA3EF61}" type="parTrans" cxnId="{2678DB3F-0E13-4BCD-ABDA-7BED6077B69B}">
      <dgm:prSet/>
      <dgm:spPr/>
      <dgm:t>
        <a:bodyPr/>
        <a:lstStyle/>
        <a:p>
          <a:endParaRPr lang="fr-FR"/>
        </a:p>
      </dgm:t>
    </dgm:pt>
    <dgm:pt modelId="{213B4C1F-2E85-4018-BA33-DD91866374F9}" type="sibTrans" cxnId="{2678DB3F-0E13-4BCD-ABDA-7BED6077B69B}">
      <dgm:prSet/>
      <dgm:spPr/>
      <dgm:t>
        <a:bodyPr/>
        <a:lstStyle/>
        <a:p>
          <a:endParaRPr lang="fr-FR"/>
        </a:p>
      </dgm:t>
    </dgm:pt>
    <dgm:pt modelId="{F01DA7AB-CE81-4495-BBE9-92D6A9925AB8}">
      <dgm:prSet phldrT="[Texte]" custT="1"/>
      <dgm:spPr/>
      <dgm:t>
        <a:bodyPr/>
        <a:lstStyle/>
        <a:p>
          <a:pPr>
            <a:buFont typeface="Wingdings" panose="05000000000000000000" pitchFamily="2" charset="2"/>
            <a:buChar char="§"/>
          </a:pPr>
          <a:r>
            <a:rPr lang="fr-FR" sz="1400" b="0" i="0" u="none" strike="noStrike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En</a:t>
          </a:r>
          <a:r>
            <a:rPr lang="fr-FR" sz="1400" b="0" i="0" u="none" strike="noStrike" baseline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expliquant</a:t>
          </a:r>
          <a:r>
            <a:rPr lang="fr-FR" sz="1400" b="0" i="0" u="none" strike="noStrike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les fondements d'une association et l'importance des bénévoles</a:t>
          </a:r>
          <a:endParaRPr lang="fr-FR" sz="1400" dirty="0"/>
        </a:p>
      </dgm:t>
    </dgm:pt>
    <dgm:pt modelId="{7841313B-FB61-40B7-9B64-C1555A99E19F}" type="parTrans" cxnId="{33DFED81-3797-46E9-98CC-87D0179E017C}">
      <dgm:prSet/>
      <dgm:spPr/>
      <dgm:t>
        <a:bodyPr/>
        <a:lstStyle/>
        <a:p>
          <a:endParaRPr lang="fr-FR"/>
        </a:p>
      </dgm:t>
    </dgm:pt>
    <dgm:pt modelId="{99786CE4-A930-42A5-B649-50F2FAD4ED58}" type="sibTrans" cxnId="{33DFED81-3797-46E9-98CC-87D0179E017C}">
      <dgm:prSet/>
      <dgm:spPr/>
      <dgm:t>
        <a:bodyPr/>
        <a:lstStyle/>
        <a:p>
          <a:endParaRPr lang="fr-FR"/>
        </a:p>
      </dgm:t>
    </dgm:pt>
    <dgm:pt modelId="{54AE952C-8419-461C-8F6D-F6F02F4FFF21}">
      <dgm:prSet phldrT="[Texte]" custT="1"/>
      <dgm:spPr/>
      <dgm:t>
        <a:bodyPr/>
        <a:lstStyle/>
        <a:p>
          <a:pPr>
            <a:buFont typeface="Wingdings" panose="05000000000000000000" pitchFamily="2" charset="2"/>
            <a:buChar char="§"/>
          </a:pPr>
          <a:r>
            <a:rPr lang="fr-FR" sz="1400" b="0" i="0" u="none" strike="noStrike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Lors d’évènements et de compétitions organisés à HERBLAY</a:t>
          </a:r>
          <a:endParaRPr lang="fr-FR" sz="1400" dirty="0"/>
        </a:p>
      </dgm:t>
    </dgm:pt>
    <dgm:pt modelId="{A163B9C5-4860-465A-9B1B-B6A1E84F957E}" type="parTrans" cxnId="{15258C80-99E0-44C5-BD17-8AA0ACEBD1F3}">
      <dgm:prSet/>
      <dgm:spPr/>
      <dgm:t>
        <a:bodyPr/>
        <a:lstStyle/>
        <a:p>
          <a:endParaRPr lang="fr-FR"/>
        </a:p>
      </dgm:t>
    </dgm:pt>
    <dgm:pt modelId="{A8A9B178-5B8B-4873-AFA8-8CE3D9CAF78F}" type="sibTrans" cxnId="{15258C80-99E0-44C5-BD17-8AA0ACEBD1F3}">
      <dgm:prSet/>
      <dgm:spPr/>
      <dgm:t>
        <a:bodyPr/>
        <a:lstStyle/>
        <a:p>
          <a:endParaRPr lang="fr-FR"/>
        </a:p>
      </dgm:t>
    </dgm:pt>
    <dgm:pt modelId="{57BE97F2-5F7E-4C52-B3D3-6714379166C3}">
      <dgm:prSet phldrT="[Texte]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pPr>
            <a:buClrTx/>
            <a:buSzTx/>
            <a:buFontTx/>
            <a:buNone/>
          </a:pPr>
          <a:r>
            <a:rPr lang="fr-FR" b="1" dirty="0">
              <a:solidFill>
                <a:schemeClr val="tx1"/>
              </a:solidFill>
              <a:latin typeface="+mn-lt"/>
              <a:ea typeface="+mn-ea"/>
              <a:cs typeface="+mn-cs"/>
            </a:rPr>
            <a:t>Attirer et fidéliser</a:t>
          </a:r>
          <a:endParaRPr lang="fr-FR" dirty="0">
            <a:solidFill>
              <a:schemeClr val="tx1"/>
            </a:solidFill>
          </a:endParaRPr>
        </a:p>
      </dgm:t>
    </dgm:pt>
    <dgm:pt modelId="{663D691E-DFB3-48B2-A535-7B7D27CC6D42}" type="parTrans" cxnId="{9F5810DA-6AE4-45EC-872C-5851EC32442D}">
      <dgm:prSet/>
      <dgm:spPr/>
      <dgm:t>
        <a:bodyPr/>
        <a:lstStyle/>
        <a:p>
          <a:endParaRPr lang="fr-FR"/>
        </a:p>
      </dgm:t>
    </dgm:pt>
    <dgm:pt modelId="{16D6ABA6-177E-47B1-AF60-2609A39A0DE0}" type="sibTrans" cxnId="{9F5810DA-6AE4-45EC-872C-5851EC32442D}">
      <dgm:prSet/>
      <dgm:spPr/>
      <dgm:t>
        <a:bodyPr/>
        <a:lstStyle/>
        <a:p>
          <a:endParaRPr lang="fr-FR"/>
        </a:p>
      </dgm:t>
    </dgm:pt>
    <dgm:pt modelId="{40014AB8-17B1-4FEA-BC2D-232D43F58968}">
      <dgm:prSet phldrT="[Texte]" custT="1"/>
      <dgm:spPr/>
      <dgm:t>
        <a:bodyPr/>
        <a:lstStyle/>
        <a:p>
          <a:pPr>
            <a:buFont typeface="Wingdings" panose="05000000000000000000" pitchFamily="2" charset="2"/>
            <a:buChar char="§"/>
          </a:pPr>
          <a:r>
            <a:rPr lang="fr-FR" sz="1400" b="0" i="0" u="none" strike="noStrike" dirty="0">
              <a:solidFill>
                <a:srgbClr val="000000"/>
              </a:solidFill>
              <a:effectLst/>
              <a:latin typeface="+mn-lt"/>
            </a:rPr>
            <a:t>En</a:t>
          </a:r>
          <a:r>
            <a:rPr lang="fr-FR" sz="1400" b="0" i="0" u="none" strike="noStrike" baseline="0" dirty="0">
              <a:solidFill>
                <a:srgbClr val="000000"/>
              </a:solidFill>
              <a:effectLst/>
              <a:latin typeface="+mn-lt"/>
            </a:rPr>
            <a:t> accompagnant</a:t>
          </a:r>
          <a:r>
            <a:rPr lang="fr-FR" sz="1400" b="0" i="0" u="none" strike="noStrike" dirty="0">
              <a:solidFill>
                <a:srgbClr val="000000"/>
              </a:solidFill>
              <a:effectLst/>
              <a:latin typeface="+mn-lt"/>
            </a:rPr>
            <a:t> l'intégration des nouveaux adhérents</a:t>
          </a:r>
          <a:endParaRPr lang="fr-FR" sz="1400" dirty="0"/>
        </a:p>
      </dgm:t>
    </dgm:pt>
    <dgm:pt modelId="{26CF1BD1-F0A6-4657-9764-5332CCF2E243}" type="parTrans" cxnId="{94D5CB76-5D49-4849-A631-3FF8830D5EF8}">
      <dgm:prSet/>
      <dgm:spPr/>
      <dgm:t>
        <a:bodyPr/>
        <a:lstStyle/>
        <a:p>
          <a:endParaRPr lang="fr-FR"/>
        </a:p>
      </dgm:t>
    </dgm:pt>
    <dgm:pt modelId="{7F34F88D-0AA8-4630-A1CD-8D7B36034D9F}" type="sibTrans" cxnId="{94D5CB76-5D49-4849-A631-3FF8830D5EF8}">
      <dgm:prSet/>
      <dgm:spPr/>
      <dgm:t>
        <a:bodyPr/>
        <a:lstStyle/>
        <a:p>
          <a:endParaRPr lang="fr-FR"/>
        </a:p>
      </dgm:t>
    </dgm:pt>
    <dgm:pt modelId="{2BE22C16-6F0D-43AE-9BAC-EA3EBDC0CE5B}">
      <dgm:prSet phldrT="[Texte]"/>
      <dgm:spPr>
        <a:solidFill>
          <a:schemeClr val="accent6">
            <a:lumMod val="75000"/>
          </a:schemeClr>
        </a:solidFill>
      </dgm:spPr>
      <dgm:t>
        <a:bodyPr/>
        <a:lstStyle/>
        <a:p>
          <a:r>
            <a:rPr lang="fr-FR" b="1" dirty="0">
              <a:solidFill>
                <a:schemeClr val="tx1"/>
              </a:solidFill>
            </a:rPr>
            <a:t>Communiquer</a:t>
          </a:r>
        </a:p>
      </dgm:t>
    </dgm:pt>
    <dgm:pt modelId="{048F30D5-A297-451F-BE41-D67B7FB1601C}" type="parTrans" cxnId="{959228F9-B3FE-42DF-B8BA-98030D86FAF5}">
      <dgm:prSet/>
      <dgm:spPr/>
      <dgm:t>
        <a:bodyPr/>
        <a:lstStyle/>
        <a:p>
          <a:endParaRPr lang="fr-FR"/>
        </a:p>
      </dgm:t>
    </dgm:pt>
    <dgm:pt modelId="{3B8B98D5-9F65-4707-86EE-CF9D48FC735E}" type="sibTrans" cxnId="{959228F9-B3FE-42DF-B8BA-98030D86FAF5}">
      <dgm:prSet/>
      <dgm:spPr/>
      <dgm:t>
        <a:bodyPr/>
        <a:lstStyle/>
        <a:p>
          <a:endParaRPr lang="fr-FR"/>
        </a:p>
      </dgm:t>
    </dgm:pt>
    <dgm:pt modelId="{D8B08188-A269-4987-A469-EF7E1ECD2C6D}">
      <dgm:prSet phldrT="[Texte]"/>
      <dgm:spPr/>
      <dgm:t>
        <a:bodyPr/>
        <a:lstStyle/>
        <a:p>
          <a:pPr>
            <a:buFont typeface="Wingdings" panose="05000000000000000000" pitchFamily="2" charset="2"/>
            <a:buChar char="§"/>
          </a:pPr>
          <a:r>
            <a:rPr lang="fr-FR" b="0" i="0" u="none" strike="noStrike" dirty="0">
              <a:solidFill>
                <a:srgbClr val="000000"/>
              </a:solidFill>
              <a:effectLst/>
              <a:latin typeface="+mn-lt"/>
            </a:rPr>
            <a:t>Grâce</a:t>
          </a:r>
          <a:r>
            <a:rPr lang="fr-FR" b="0" i="0" u="none" strike="noStrike" baseline="0" dirty="0">
              <a:solidFill>
                <a:srgbClr val="000000"/>
              </a:solidFill>
              <a:effectLst/>
              <a:latin typeface="+mn-lt"/>
            </a:rPr>
            <a:t> à une</a:t>
          </a:r>
          <a:r>
            <a:rPr lang="fr-FR" b="0" i="0" u="none" strike="noStrike" dirty="0">
              <a:solidFill>
                <a:srgbClr val="000000"/>
              </a:solidFill>
              <a:effectLst/>
              <a:latin typeface="+mn-lt"/>
            </a:rPr>
            <a:t> communication régulière et cohérente entre les différents supports (site, FB, Panneaux).</a:t>
          </a:r>
          <a:endParaRPr lang="fr-FR" dirty="0"/>
        </a:p>
      </dgm:t>
    </dgm:pt>
    <dgm:pt modelId="{123216C9-C250-49B1-BBCB-7E2CB4E8286B}" type="parTrans" cxnId="{1D608C2B-513E-476A-AB69-5757A277DB6D}">
      <dgm:prSet/>
      <dgm:spPr/>
      <dgm:t>
        <a:bodyPr/>
        <a:lstStyle/>
        <a:p>
          <a:endParaRPr lang="fr-FR"/>
        </a:p>
      </dgm:t>
    </dgm:pt>
    <dgm:pt modelId="{305E5A2A-78A3-42DF-B964-B68B2412315A}" type="sibTrans" cxnId="{1D608C2B-513E-476A-AB69-5757A277DB6D}">
      <dgm:prSet/>
      <dgm:spPr/>
      <dgm:t>
        <a:bodyPr/>
        <a:lstStyle/>
        <a:p>
          <a:endParaRPr lang="fr-FR"/>
        </a:p>
      </dgm:t>
    </dgm:pt>
    <dgm:pt modelId="{286AACB5-0764-4C92-9D28-AD2BFE3D9BFB}">
      <dgm:prSet phldrT="[Texte]"/>
      <dgm:spPr/>
      <dgm:t>
        <a:bodyPr/>
        <a:lstStyle/>
        <a:p>
          <a:pPr>
            <a:buFont typeface="Wingdings" panose="05000000000000000000" pitchFamily="2" charset="2"/>
            <a:buChar char="§"/>
          </a:pPr>
          <a:r>
            <a:rPr lang="fr-FR" b="0" i="0" u="none" strike="noStrike" dirty="0">
              <a:solidFill>
                <a:srgbClr val="000000"/>
              </a:solidFill>
              <a:effectLst/>
              <a:latin typeface="+mn-lt"/>
            </a:rPr>
            <a:t>En</a:t>
          </a:r>
          <a:r>
            <a:rPr lang="fr-FR" b="0" i="0" u="none" strike="noStrike" baseline="0" dirty="0">
              <a:solidFill>
                <a:srgbClr val="000000"/>
              </a:solidFill>
              <a:effectLst/>
              <a:latin typeface="+mn-lt"/>
            </a:rPr>
            <a:t> créant</a:t>
          </a:r>
          <a:r>
            <a:rPr lang="fr-FR" b="0" i="0" u="none" strike="noStrike" dirty="0">
              <a:solidFill>
                <a:srgbClr val="000000"/>
              </a:solidFill>
              <a:effectLst/>
              <a:latin typeface="+mn-lt"/>
            </a:rPr>
            <a:t> des liens entre les Elus du CA, les entraineurs et les adhérents</a:t>
          </a:r>
          <a:endParaRPr lang="fr-FR" dirty="0"/>
        </a:p>
      </dgm:t>
    </dgm:pt>
    <dgm:pt modelId="{AA7D0FAB-48A1-4EA1-B90E-175682DFAF14}" type="parTrans" cxnId="{99F5174A-7E81-4463-88DB-78516BCCE943}">
      <dgm:prSet/>
      <dgm:spPr/>
      <dgm:t>
        <a:bodyPr/>
        <a:lstStyle/>
        <a:p>
          <a:endParaRPr lang="fr-FR"/>
        </a:p>
      </dgm:t>
    </dgm:pt>
    <dgm:pt modelId="{4E0B08B6-B890-4F66-B20E-3B3C3339F1C8}" type="sibTrans" cxnId="{99F5174A-7E81-4463-88DB-78516BCCE943}">
      <dgm:prSet/>
      <dgm:spPr/>
      <dgm:t>
        <a:bodyPr/>
        <a:lstStyle/>
        <a:p>
          <a:endParaRPr lang="fr-FR"/>
        </a:p>
      </dgm:t>
    </dgm:pt>
    <dgm:pt modelId="{E0B51A9F-6530-4677-A4B0-0B39915AAA35}">
      <dgm:prSet phldrT="[Texte]" custT="1"/>
      <dgm:spPr/>
      <dgm:t>
        <a:bodyPr/>
        <a:lstStyle/>
        <a:p>
          <a:pPr>
            <a:buClrTx/>
            <a:buSzTx/>
            <a:buFont typeface="Wingdings" panose="05000000000000000000" pitchFamily="2" charset="2"/>
            <a:buChar char="§"/>
          </a:pPr>
          <a:r>
            <a:rPr lang="fr-FR" sz="1400" b="0" i="0" u="none" strike="noStrike" dirty="0">
              <a:solidFill>
                <a:srgbClr val="000000"/>
              </a:solidFill>
              <a:effectLst/>
              <a:latin typeface="+mn-lt"/>
            </a:rPr>
            <a:t>Autour de démonstrations et de portes ouvertes</a:t>
          </a:r>
          <a:endParaRPr lang="fr-FR" sz="1400" dirty="0"/>
        </a:p>
      </dgm:t>
    </dgm:pt>
    <dgm:pt modelId="{2AE02D5A-D746-4A9B-8108-FFC2C4A527A3}" type="parTrans" cxnId="{09CA1BD9-82E7-4259-9B4C-FD658CBDC7D6}">
      <dgm:prSet/>
      <dgm:spPr/>
      <dgm:t>
        <a:bodyPr/>
        <a:lstStyle/>
        <a:p>
          <a:endParaRPr lang="fr-FR"/>
        </a:p>
      </dgm:t>
    </dgm:pt>
    <dgm:pt modelId="{7094FE63-7C19-45D0-B817-DE74F529C9A6}" type="sibTrans" cxnId="{09CA1BD9-82E7-4259-9B4C-FD658CBDC7D6}">
      <dgm:prSet/>
      <dgm:spPr/>
      <dgm:t>
        <a:bodyPr/>
        <a:lstStyle/>
        <a:p>
          <a:endParaRPr lang="fr-FR"/>
        </a:p>
      </dgm:t>
    </dgm:pt>
    <dgm:pt modelId="{B4B70C07-D29C-4B3B-B0B4-800407FC406E}">
      <dgm:prSet phldrT="[Texte]" custT="1"/>
      <dgm:spPr/>
      <dgm:t>
        <a:bodyPr/>
        <a:lstStyle/>
        <a:p>
          <a:pPr>
            <a:buClrTx/>
            <a:buSzTx/>
            <a:buFont typeface="Wingdings" panose="05000000000000000000" pitchFamily="2" charset="2"/>
            <a:buChar char="§"/>
          </a:pPr>
          <a:r>
            <a:rPr lang="fr-FR" sz="1400" b="0" i="0" u="none" strike="noStrike" dirty="0">
              <a:solidFill>
                <a:srgbClr val="000000"/>
              </a:solidFill>
              <a:effectLst/>
              <a:latin typeface="+mn-lt"/>
            </a:rPr>
            <a:t>Autour de Paris 2024</a:t>
          </a:r>
          <a:endParaRPr lang="fr-FR" sz="1400" dirty="0"/>
        </a:p>
      </dgm:t>
    </dgm:pt>
    <dgm:pt modelId="{DBE2B689-9E06-46A9-928D-3737328F53D8}" type="parTrans" cxnId="{19F11FD1-7B67-48D7-87F6-C90DEE9F6963}">
      <dgm:prSet/>
      <dgm:spPr/>
      <dgm:t>
        <a:bodyPr/>
        <a:lstStyle/>
        <a:p>
          <a:endParaRPr lang="fr-FR"/>
        </a:p>
      </dgm:t>
    </dgm:pt>
    <dgm:pt modelId="{16E461A0-40AA-4F76-B0B5-2F747431D591}" type="sibTrans" cxnId="{19F11FD1-7B67-48D7-87F6-C90DEE9F6963}">
      <dgm:prSet/>
      <dgm:spPr/>
      <dgm:t>
        <a:bodyPr/>
        <a:lstStyle/>
        <a:p>
          <a:endParaRPr lang="fr-FR"/>
        </a:p>
      </dgm:t>
    </dgm:pt>
    <dgm:pt modelId="{A827E8BF-A0F1-49DD-AF7D-95F466338C74}">
      <dgm:prSet phldrT="[Texte]" custT="1"/>
      <dgm:spPr/>
      <dgm:t>
        <a:bodyPr/>
        <a:lstStyle/>
        <a:p>
          <a:pPr>
            <a:buClrTx/>
            <a:buSzTx/>
            <a:buFont typeface="Wingdings" panose="05000000000000000000" pitchFamily="2" charset="2"/>
            <a:buChar char="§"/>
          </a:pPr>
          <a:r>
            <a:rPr lang="fr-FR" sz="1400" b="0" i="0" u="none" strike="noStrike" dirty="0">
              <a:solidFill>
                <a:srgbClr val="000000"/>
              </a:solidFill>
              <a:effectLst/>
              <a:latin typeface="+mn-lt"/>
            </a:rPr>
            <a:t>En lien avec les écoles et les collèges</a:t>
          </a:r>
          <a:endParaRPr lang="fr-FR" sz="1400" dirty="0"/>
        </a:p>
      </dgm:t>
    </dgm:pt>
    <dgm:pt modelId="{D5891FCE-94A7-446B-B78F-9D85B7AB6B4E}" type="parTrans" cxnId="{0CF1C473-0482-4AFD-89BE-79AABAAB82E7}">
      <dgm:prSet/>
      <dgm:spPr/>
      <dgm:t>
        <a:bodyPr/>
        <a:lstStyle/>
        <a:p>
          <a:endParaRPr lang="fr-FR"/>
        </a:p>
      </dgm:t>
    </dgm:pt>
    <dgm:pt modelId="{93E2A692-17E3-411D-BDBD-1AB0D00DA3B1}" type="sibTrans" cxnId="{0CF1C473-0482-4AFD-89BE-79AABAAB82E7}">
      <dgm:prSet/>
      <dgm:spPr/>
      <dgm:t>
        <a:bodyPr/>
        <a:lstStyle/>
        <a:p>
          <a:endParaRPr lang="fr-FR"/>
        </a:p>
      </dgm:t>
    </dgm:pt>
    <dgm:pt modelId="{4D8AEBA2-1A44-4C6B-8379-BDA60D3E1B9E}">
      <dgm:prSet phldrT="[Texte]" custT="1"/>
      <dgm:spPr/>
      <dgm:t>
        <a:bodyPr/>
        <a:lstStyle/>
        <a:p>
          <a:pPr>
            <a:buClrTx/>
            <a:buSzTx/>
            <a:buFont typeface="Wingdings" panose="05000000000000000000" pitchFamily="2" charset="2"/>
            <a:buChar char="§"/>
          </a:pPr>
          <a:r>
            <a:rPr lang="fr-FR" sz="1400" b="0" i="0" u="none" strike="noStrike" dirty="0">
              <a:solidFill>
                <a:srgbClr val="000000"/>
              </a:solidFill>
              <a:effectLst/>
              <a:latin typeface="+mn-lt"/>
            </a:rPr>
            <a:t>En encourageant les réinscriptions</a:t>
          </a:r>
          <a:endParaRPr lang="fr-FR" sz="1400" dirty="0"/>
        </a:p>
      </dgm:t>
    </dgm:pt>
    <dgm:pt modelId="{77D93FF1-B4D2-4D67-97E8-37D8D54F1D33}" type="parTrans" cxnId="{B0F51257-DB13-405B-A3B9-717D4C4BEFE4}">
      <dgm:prSet/>
      <dgm:spPr/>
      <dgm:t>
        <a:bodyPr/>
        <a:lstStyle/>
        <a:p>
          <a:endParaRPr lang="fr-FR"/>
        </a:p>
      </dgm:t>
    </dgm:pt>
    <dgm:pt modelId="{7193D351-2AD5-45E9-A800-9DCA0AE08649}" type="sibTrans" cxnId="{B0F51257-DB13-405B-A3B9-717D4C4BEFE4}">
      <dgm:prSet/>
      <dgm:spPr/>
      <dgm:t>
        <a:bodyPr/>
        <a:lstStyle/>
        <a:p>
          <a:endParaRPr lang="fr-FR"/>
        </a:p>
      </dgm:t>
    </dgm:pt>
    <dgm:pt modelId="{911C335A-B89D-459E-AFD7-59E599438C64}">
      <dgm:prSet phldrT="[Texte]"/>
      <dgm:spPr/>
      <dgm:t>
        <a:bodyPr/>
        <a:lstStyle/>
        <a:p>
          <a:pPr>
            <a:buFont typeface="Wingdings" panose="05000000000000000000" pitchFamily="2" charset="2"/>
            <a:buChar char="§"/>
          </a:pPr>
          <a:r>
            <a:rPr lang="fr-FR" b="0" i="0" u="none" strike="noStrike" dirty="0">
              <a:solidFill>
                <a:srgbClr val="000000"/>
              </a:solidFill>
              <a:effectLst/>
              <a:latin typeface="+mn-lt"/>
            </a:rPr>
            <a:t>En</a:t>
          </a:r>
          <a:r>
            <a:rPr lang="fr-FR" b="0" i="0" u="none" strike="noStrike" baseline="0" dirty="0">
              <a:solidFill>
                <a:srgbClr val="000000"/>
              </a:solidFill>
              <a:effectLst/>
              <a:latin typeface="+mn-lt"/>
            </a:rPr>
            <a:t> étant</a:t>
          </a:r>
          <a:r>
            <a:rPr lang="fr-FR" b="0" i="0" u="none" strike="noStrike" dirty="0">
              <a:solidFill>
                <a:srgbClr val="000000"/>
              </a:solidFill>
              <a:effectLst/>
              <a:latin typeface="+mn-lt"/>
            </a:rPr>
            <a:t> présent lors</a:t>
          </a:r>
          <a:r>
            <a:rPr lang="fr-FR" b="0" i="0" u="none" strike="noStrike" baseline="0" dirty="0">
              <a:solidFill>
                <a:srgbClr val="000000"/>
              </a:solidFill>
              <a:effectLst/>
              <a:latin typeface="+mn-lt"/>
            </a:rPr>
            <a:t> d’</a:t>
          </a:r>
          <a:r>
            <a:rPr lang="fr-FR" b="0" i="0" u="none" strike="noStrike" dirty="0">
              <a:solidFill>
                <a:srgbClr val="000000"/>
              </a:solidFill>
              <a:effectLst/>
              <a:latin typeface="+mn-lt"/>
            </a:rPr>
            <a:t>évènements locaux</a:t>
          </a:r>
          <a:endParaRPr lang="fr-FR" dirty="0"/>
        </a:p>
      </dgm:t>
    </dgm:pt>
    <dgm:pt modelId="{71409322-81DC-40A1-A906-2267C05682D3}" type="parTrans" cxnId="{A0A37648-2E07-404A-9227-62AB306ECC88}">
      <dgm:prSet/>
      <dgm:spPr/>
      <dgm:t>
        <a:bodyPr/>
        <a:lstStyle/>
        <a:p>
          <a:endParaRPr lang="fr-FR"/>
        </a:p>
      </dgm:t>
    </dgm:pt>
    <dgm:pt modelId="{79D1A7FD-7C87-48B7-9EBA-D249E7EB9C2E}" type="sibTrans" cxnId="{A0A37648-2E07-404A-9227-62AB306ECC88}">
      <dgm:prSet/>
      <dgm:spPr/>
      <dgm:t>
        <a:bodyPr/>
        <a:lstStyle/>
        <a:p>
          <a:endParaRPr lang="fr-FR"/>
        </a:p>
      </dgm:t>
    </dgm:pt>
    <dgm:pt modelId="{BB76EFAE-829E-480B-963E-6DAF1D722246}">
      <dgm:prSet phldrT="[Texte]"/>
      <dgm:spPr/>
      <dgm:t>
        <a:bodyPr/>
        <a:lstStyle/>
        <a:p>
          <a:pPr>
            <a:buFont typeface="Wingdings" panose="05000000000000000000" pitchFamily="2" charset="2"/>
            <a:buChar char="§"/>
          </a:pPr>
          <a:r>
            <a:rPr lang="fr-FR" b="0" i="0" u="none" strike="noStrike" dirty="0">
              <a:solidFill>
                <a:srgbClr val="000000"/>
              </a:solidFill>
              <a:effectLst/>
              <a:latin typeface="+mn-lt"/>
            </a:rPr>
            <a:t>En</a:t>
          </a:r>
          <a:r>
            <a:rPr lang="fr-FR" b="0" i="0" u="none" strike="noStrike" baseline="0" dirty="0">
              <a:solidFill>
                <a:srgbClr val="000000"/>
              </a:solidFill>
              <a:effectLst/>
              <a:latin typeface="+mn-lt"/>
            </a:rPr>
            <a:t> facilitant</a:t>
          </a:r>
          <a:r>
            <a:rPr lang="fr-FR" b="0" i="0" u="none" strike="noStrike" dirty="0">
              <a:solidFill>
                <a:srgbClr val="000000"/>
              </a:solidFill>
              <a:effectLst/>
              <a:latin typeface="+mn-lt"/>
            </a:rPr>
            <a:t> la communication entre les adhérents</a:t>
          </a:r>
          <a:endParaRPr lang="fr-FR" dirty="0"/>
        </a:p>
      </dgm:t>
    </dgm:pt>
    <dgm:pt modelId="{77AC7AD9-6A4D-41B0-A60D-C6D0EC299BF8}" type="parTrans" cxnId="{F24DCCCD-BA5F-4F49-8A8A-A90C49BC0213}">
      <dgm:prSet/>
      <dgm:spPr/>
      <dgm:t>
        <a:bodyPr/>
        <a:lstStyle/>
        <a:p>
          <a:endParaRPr lang="fr-FR"/>
        </a:p>
      </dgm:t>
    </dgm:pt>
    <dgm:pt modelId="{F8344458-E113-4C82-B085-1DF529C0A2F5}" type="sibTrans" cxnId="{F24DCCCD-BA5F-4F49-8A8A-A90C49BC0213}">
      <dgm:prSet/>
      <dgm:spPr/>
      <dgm:t>
        <a:bodyPr/>
        <a:lstStyle/>
        <a:p>
          <a:endParaRPr lang="fr-FR"/>
        </a:p>
      </dgm:t>
    </dgm:pt>
    <dgm:pt modelId="{A71D2E7E-812C-400A-B5D7-A3CB460500B2}" type="pres">
      <dgm:prSet presAssocID="{E9483404-87BE-4819-82F8-83EA91816804}" presName="linearFlow" presStyleCnt="0">
        <dgm:presLayoutVars>
          <dgm:dir/>
          <dgm:animLvl val="lvl"/>
          <dgm:resizeHandles val="exact"/>
        </dgm:presLayoutVars>
      </dgm:prSet>
      <dgm:spPr/>
    </dgm:pt>
    <dgm:pt modelId="{07811564-9B6C-4B12-9B53-7BDFD903A729}" type="pres">
      <dgm:prSet presAssocID="{72E86071-AE45-4C9F-85CE-DA02235EC08F}" presName="composite" presStyleCnt="0"/>
      <dgm:spPr/>
    </dgm:pt>
    <dgm:pt modelId="{F063342B-C37C-4694-8403-96B2A88CD2A9}" type="pres">
      <dgm:prSet presAssocID="{72E86071-AE45-4C9F-85CE-DA02235EC08F}" presName="parentText" presStyleLbl="alignNode1" presStyleIdx="0" presStyleCnt="3">
        <dgm:presLayoutVars>
          <dgm:chMax val="1"/>
          <dgm:bulletEnabled val="1"/>
        </dgm:presLayoutVars>
      </dgm:prSet>
      <dgm:spPr/>
    </dgm:pt>
    <dgm:pt modelId="{6ADD32F7-2E21-4861-8F9F-E76D10733F4C}" type="pres">
      <dgm:prSet presAssocID="{72E86071-AE45-4C9F-85CE-DA02235EC08F}" presName="descendantText" presStyleLbl="alignAcc1" presStyleIdx="0" presStyleCnt="3">
        <dgm:presLayoutVars>
          <dgm:bulletEnabled val="1"/>
        </dgm:presLayoutVars>
      </dgm:prSet>
      <dgm:spPr/>
    </dgm:pt>
    <dgm:pt modelId="{1FB204BC-23EC-4064-95D4-AB2EB6D04302}" type="pres">
      <dgm:prSet presAssocID="{213B4C1F-2E85-4018-BA33-DD91866374F9}" presName="sp" presStyleCnt="0"/>
      <dgm:spPr/>
    </dgm:pt>
    <dgm:pt modelId="{7A6E33C2-A80F-4619-8B16-762DFAA04A3C}" type="pres">
      <dgm:prSet presAssocID="{57BE97F2-5F7E-4C52-B3D3-6714379166C3}" presName="composite" presStyleCnt="0"/>
      <dgm:spPr/>
    </dgm:pt>
    <dgm:pt modelId="{9AEF19E6-D631-41BC-A3BD-4C7734F70E07}" type="pres">
      <dgm:prSet presAssocID="{57BE97F2-5F7E-4C52-B3D3-6714379166C3}" presName="parentText" presStyleLbl="alignNode1" presStyleIdx="1" presStyleCnt="3">
        <dgm:presLayoutVars>
          <dgm:chMax val="1"/>
          <dgm:bulletEnabled val="1"/>
        </dgm:presLayoutVars>
      </dgm:prSet>
      <dgm:spPr/>
    </dgm:pt>
    <dgm:pt modelId="{9F362DF8-012B-4AFF-B79E-AE4017386FF9}" type="pres">
      <dgm:prSet presAssocID="{57BE97F2-5F7E-4C52-B3D3-6714379166C3}" presName="descendantText" presStyleLbl="alignAcc1" presStyleIdx="1" presStyleCnt="3" custScaleY="157614">
        <dgm:presLayoutVars>
          <dgm:bulletEnabled val="1"/>
        </dgm:presLayoutVars>
      </dgm:prSet>
      <dgm:spPr/>
    </dgm:pt>
    <dgm:pt modelId="{A5902B53-D6AF-4A34-A83E-D8A112A45F39}" type="pres">
      <dgm:prSet presAssocID="{16D6ABA6-177E-47B1-AF60-2609A39A0DE0}" presName="sp" presStyleCnt="0"/>
      <dgm:spPr/>
    </dgm:pt>
    <dgm:pt modelId="{B1902337-284B-42A7-82F6-282737BEEFC1}" type="pres">
      <dgm:prSet presAssocID="{2BE22C16-6F0D-43AE-9BAC-EA3EBDC0CE5B}" presName="composite" presStyleCnt="0"/>
      <dgm:spPr/>
    </dgm:pt>
    <dgm:pt modelId="{EF3B218F-0B98-4950-9FCD-0A30BDE22F34}" type="pres">
      <dgm:prSet presAssocID="{2BE22C16-6F0D-43AE-9BAC-EA3EBDC0CE5B}" presName="parentText" presStyleLbl="alignNode1" presStyleIdx="2" presStyleCnt="3">
        <dgm:presLayoutVars>
          <dgm:chMax val="1"/>
          <dgm:bulletEnabled val="1"/>
        </dgm:presLayoutVars>
      </dgm:prSet>
      <dgm:spPr/>
    </dgm:pt>
    <dgm:pt modelId="{C7F8EF93-B9F3-48EC-8EE5-A79F0EC80B89}" type="pres">
      <dgm:prSet presAssocID="{2BE22C16-6F0D-43AE-9BAC-EA3EBDC0CE5B}" presName="descendantText" presStyleLbl="alignAcc1" presStyleIdx="2" presStyleCnt="3" custScaleY="125260" custLinFactNeighborY="11887">
        <dgm:presLayoutVars>
          <dgm:bulletEnabled val="1"/>
        </dgm:presLayoutVars>
      </dgm:prSet>
      <dgm:spPr/>
    </dgm:pt>
  </dgm:ptLst>
  <dgm:cxnLst>
    <dgm:cxn modelId="{65356226-06FC-4B49-A9F9-CA16DEF36DAF}" type="presOf" srcId="{40014AB8-17B1-4FEA-BC2D-232D43F58968}" destId="{9F362DF8-012B-4AFF-B79E-AE4017386FF9}" srcOrd="0" destOrd="0" presId="urn:microsoft.com/office/officeart/2005/8/layout/chevron2"/>
    <dgm:cxn modelId="{2F7DDA26-1E0F-49BD-81F5-B1662FCF762A}" type="presOf" srcId="{BB76EFAE-829E-480B-963E-6DAF1D722246}" destId="{C7F8EF93-B9F3-48EC-8EE5-A79F0EC80B89}" srcOrd="0" destOrd="3" presId="urn:microsoft.com/office/officeart/2005/8/layout/chevron2"/>
    <dgm:cxn modelId="{E4550B2A-2608-468A-8A98-14A71E04DE15}" type="presOf" srcId="{57BE97F2-5F7E-4C52-B3D3-6714379166C3}" destId="{9AEF19E6-D631-41BC-A3BD-4C7734F70E07}" srcOrd="0" destOrd="0" presId="urn:microsoft.com/office/officeart/2005/8/layout/chevron2"/>
    <dgm:cxn modelId="{0C716A2A-8CAA-4BD1-BA78-9FBDC7032AD8}" type="presOf" srcId="{E9483404-87BE-4819-82F8-83EA91816804}" destId="{A71D2E7E-812C-400A-B5D7-A3CB460500B2}" srcOrd="0" destOrd="0" presId="urn:microsoft.com/office/officeart/2005/8/layout/chevron2"/>
    <dgm:cxn modelId="{1D608C2B-513E-476A-AB69-5757A277DB6D}" srcId="{2BE22C16-6F0D-43AE-9BAC-EA3EBDC0CE5B}" destId="{D8B08188-A269-4987-A469-EF7E1ECD2C6D}" srcOrd="0" destOrd="0" parTransId="{123216C9-C250-49B1-BBCB-7E2CB4E8286B}" sibTransId="{305E5A2A-78A3-42DF-B964-B68B2412315A}"/>
    <dgm:cxn modelId="{3F83333A-5524-4691-A993-C30E0FD4B8F0}" type="presOf" srcId="{286AACB5-0764-4C92-9D28-AD2BFE3D9BFB}" destId="{C7F8EF93-B9F3-48EC-8EE5-A79F0EC80B89}" srcOrd="0" destOrd="1" presId="urn:microsoft.com/office/officeart/2005/8/layout/chevron2"/>
    <dgm:cxn modelId="{1210F03E-186C-45B4-A5DB-A941D979D44A}" type="presOf" srcId="{B4B70C07-D29C-4B3B-B0B4-800407FC406E}" destId="{9F362DF8-012B-4AFF-B79E-AE4017386FF9}" srcOrd="0" destOrd="2" presId="urn:microsoft.com/office/officeart/2005/8/layout/chevron2"/>
    <dgm:cxn modelId="{2678DB3F-0E13-4BCD-ABDA-7BED6077B69B}" srcId="{E9483404-87BE-4819-82F8-83EA91816804}" destId="{72E86071-AE45-4C9F-85CE-DA02235EC08F}" srcOrd="0" destOrd="0" parTransId="{B7EE81E3-EA50-40CC-801B-14FFBCA3EF61}" sibTransId="{213B4C1F-2E85-4018-BA33-DD91866374F9}"/>
    <dgm:cxn modelId="{976F305C-E0B9-4131-9576-79F46AA97B17}" type="presOf" srcId="{2BE22C16-6F0D-43AE-9BAC-EA3EBDC0CE5B}" destId="{EF3B218F-0B98-4950-9FCD-0A30BDE22F34}" srcOrd="0" destOrd="0" presId="urn:microsoft.com/office/officeart/2005/8/layout/chevron2"/>
    <dgm:cxn modelId="{C6519742-891B-4F09-BA24-96D53698F8F8}" type="presOf" srcId="{D8B08188-A269-4987-A469-EF7E1ECD2C6D}" destId="{C7F8EF93-B9F3-48EC-8EE5-A79F0EC80B89}" srcOrd="0" destOrd="0" presId="urn:microsoft.com/office/officeart/2005/8/layout/chevron2"/>
    <dgm:cxn modelId="{A0A37648-2E07-404A-9227-62AB306ECC88}" srcId="{2BE22C16-6F0D-43AE-9BAC-EA3EBDC0CE5B}" destId="{911C335A-B89D-459E-AFD7-59E599438C64}" srcOrd="2" destOrd="0" parTransId="{71409322-81DC-40A1-A906-2267C05682D3}" sibTransId="{79D1A7FD-7C87-48B7-9EBA-D249E7EB9C2E}"/>
    <dgm:cxn modelId="{99F5174A-7E81-4463-88DB-78516BCCE943}" srcId="{2BE22C16-6F0D-43AE-9BAC-EA3EBDC0CE5B}" destId="{286AACB5-0764-4C92-9D28-AD2BFE3D9BFB}" srcOrd="1" destOrd="0" parTransId="{AA7D0FAB-48A1-4EA1-B90E-175682DFAF14}" sibTransId="{4E0B08B6-B890-4F66-B20E-3B3C3339F1C8}"/>
    <dgm:cxn modelId="{46AFFC51-E0AF-469D-801A-6FC92CBB681D}" type="presOf" srcId="{E0B51A9F-6530-4677-A4B0-0B39915AAA35}" destId="{9F362DF8-012B-4AFF-B79E-AE4017386FF9}" srcOrd="0" destOrd="1" presId="urn:microsoft.com/office/officeart/2005/8/layout/chevron2"/>
    <dgm:cxn modelId="{0CF1C473-0482-4AFD-89BE-79AABAAB82E7}" srcId="{57BE97F2-5F7E-4C52-B3D3-6714379166C3}" destId="{A827E8BF-A0F1-49DD-AF7D-95F466338C74}" srcOrd="3" destOrd="0" parTransId="{D5891FCE-94A7-446B-B78F-9D85B7AB6B4E}" sibTransId="{93E2A692-17E3-411D-BDBD-1AB0D00DA3B1}"/>
    <dgm:cxn modelId="{94D5CB76-5D49-4849-A631-3FF8830D5EF8}" srcId="{57BE97F2-5F7E-4C52-B3D3-6714379166C3}" destId="{40014AB8-17B1-4FEA-BC2D-232D43F58968}" srcOrd="0" destOrd="0" parTransId="{26CF1BD1-F0A6-4657-9764-5332CCF2E243}" sibTransId="{7F34F88D-0AA8-4630-A1CD-8D7B36034D9F}"/>
    <dgm:cxn modelId="{B0F51257-DB13-405B-A3B9-717D4C4BEFE4}" srcId="{57BE97F2-5F7E-4C52-B3D3-6714379166C3}" destId="{4D8AEBA2-1A44-4C6B-8379-BDA60D3E1B9E}" srcOrd="4" destOrd="0" parTransId="{77D93FF1-B4D2-4D67-97E8-37D8D54F1D33}" sibTransId="{7193D351-2AD5-45E9-A800-9DCA0AE08649}"/>
    <dgm:cxn modelId="{F6FEF47D-3C41-48D5-901F-4B9FE28DE3C4}" type="presOf" srcId="{72E86071-AE45-4C9F-85CE-DA02235EC08F}" destId="{F063342B-C37C-4694-8403-96B2A88CD2A9}" srcOrd="0" destOrd="0" presId="urn:microsoft.com/office/officeart/2005/8/layout/chevron2"/>
    <dgm:cxn modelId="{15258C80-99E0-44C5-BD17-8AA0ACEBD1F3}" srcId="{72E86071-AE45-4C9F-85CE-DA02235EC08F}" destId="{54AE952C-8419-461C-8F6D-F6F02F4FFF21}" srcOrd="1" destOrd="0" parTransId="{A163B9C5-4860-465A-9B1B-B6A1E84F957E}" sibTransId="{A8A9B178-5B8B-4873-AFA8-8CE3D9CAF78F}"/>
    <dgm:cxn modelId="{33DFED81-3797-46E9-98CC-87D0179E017C}" srcId="{72E86071-AE45-4C9F-85CE-DA02235EC08F}" destId="{F01DA7AB-CE81-4495-BBE9-92D6A9925AB8}" srcOrd="0" destOrd="0" parTransId="{7841313B-FB61-40B7-9B64-C1555A99E19F}" sibTransId="{99786CE4-A930-42A5-B649-50F2FAD4ED58}"/>
    <dgm:cxn modelId="{FC667994-3BEE-4F19-9CA6-2CA71A45B976}" type="presOf" srcId="{F01DA7AB-CE81-4495-BBE9-92D6A9925AB8}" destId="{6ADD32F7-2E21-4861-8F9F-E76D10733F4C}" srcOrd="0" destOrd="0" presId="urn:microsoft.com/office/officeart/2005/8/layout/chevron2"/>
    <dgm:cxn modelId="{28AEE5B5-94B0-4297-A880-746A7ACAC5C6}" type="presOf" srcId="{54AE952C-8419-461C-8F6D-F6F02F4FFF21}" destId="{6ADD32F7-2E21-4861-8F9F-E76D10733F4C}" srcOrd="0" destOrd="1" presId="urn:microsoft.com/office/officeart/2005/8/layout/chevron2"/>
    <dgm:cxn modelId="{DC2D1CC1-4D90-4D24-A7DF-46569AE53BE2}" type="presOf" srcId="{911C335A-B89D-459E-AFD7-59E599438C64}" destId="{C7F8EF93-B9F3-48EC-8EE5-A79F0EC80B89}" srcOrd="0" destOrd="2" presId="urn:microsoft.com/office/officeart/2005/8/layout/chevron2"/>
    <dgm:cxn modelId="{E94D7DCD-35CB-49C2-9D74-69151553D96C}" type="presOf" srcId="{A827E8BF-A0F1-49DD-AF7D-95F466338C74}" destId="{9F362DF8-012B-4AFF-B79E-AE4017386FF9}" srcOrd="0" destOrd="3" presId="urn:microsoft.com/office/officeart/2005/8/layout/chevron2"/>
    <dgm:cxn modelId="{F24DCCCD-BA5F-4F49-8A8A-A90C49BC0213}" srcId="{2BE22C16-6F0D-43AE-9BAC-EA3EBDC0CE5B}" destId="{BB76EFAE-829E-480B-963E-6DAF1D722246}" srcOrd="3" destOrd="0" parTransId="{77AC7AD9-6A4D-41B0-A60D-C6D0EC299BF8}" sibTransId="{F8344458-E113-4C82-B085-1DF529C0A2F5}"/>
    <dgm:cxn modelId="{19F11FD1-7B67-48D7-87F6-C90DEE9F6963}" srcId="{57BE97F2-5F7E-4C52-B3D3-6714379166C3}" destId="{B4B70C07-D29C-4B3B-B0B4-800407FC406E}" srcOrd="2" destOrd="0" parTransId="{DBE2B689-9E06-46A9-928D-3737328F53D8}" sibTransId="{16E461A0-40AA-4F76-B0B5-2F747431D591}"/>
    <dgm:cxn modelId="{09CA1BD9-82E7-4259-9B4C-FD658CBDC7D6}" srcId="{57BE97F2-5F7E-4C52-B3D3-6714379166C3}" destId="{E0B51A9F-6530-4677-A4B0-0B39915AAA35}" srcOrd="1" destOrd="0" parTransId="{2AE02D5A-D746-4A9B-8108-FFC2C4A527A3}" sibTransId="{7094FE63-7C19-45D0-B817-DE74F529C9A6}"/>
    <dgm:cxn modelId="{9F5810DA-6AE4-45EC-872C-5851EC32442D}" srcId="{E9483404-87BE-4819-82F8-83EA91816804}" destId="{57BE97F2-5F7E-4C52-B3D3-6714379166C3}" srcOrd="1" destOrd="0" parTransId="{663D691E-DFB3-48B2-A535-7B7D27CC6D42}" sibTransId="{16D6ABA6-177E-47B1-AF60-2609A39A0DE0}"/>
    <dgm:cxn modelId="{D69A7FE7-B25F-49FC-81C0-FC97BE35400F}" type="presOf" srcId="{4D8AEBA2-1A44-4C6B-8379-BDA60D3E1B9E}" destId="{9F362DF8-012B-4AFF-B79E-AE4017386FF9}" srcOrd="0" destOrd="4" presId="urn:microsoft.com/office/officeart/2005/8/layout/chevron2"/>
    <dgm:cxn modelId="{959228F9-B3FE-42DF-B8BA-98030D86FAF5}" srcId="{E9483404-87BE-4819-82F8-83EA91816804}" destId="{2BE22C16-6F0D-43AE-9BAC-EA3EBDC0CE5B}" srcOrd="2" destOrd="0" parTransId="{048F30D5-A297-451F-BE41-D67B7FB1601C}" sibTransId="{3B8B98D5-9F65-4707-86EE-CF9D48FC735E}"/>
    <dgm:cxn modelId="{E817D6A9-1D94-41B4-9433-0BB93F03AFE4}" type="presParOf" srcId="{A71D2E7E-812C-400A-B5D7-A3CB460500B2}" destId="{07811564-9B6C-4B12-9B53-7BDFD903A729}" srcOrd="0" destOrd="0" presId="urn:microsoft.com/office/officeart/2005/8/layout/chevron2"/>
    <dgm:cxn modelId="{8CB6EEDA-DC84-4C3D-B853-2672B3E8B532}" type="presParOf" srcId="{07811564-9B6C-4B12-9B53-7BDFD903A729}" destId="{F063342B-C37C-4694-8403-96B2A88CD2A9}" srcOrd="0" destOrd="0" presId="urn:microsoft.com/office/officeart/2005/8/layout/chevron2"/>
    <dgm:cxn modelId="{A313D856-5847-49D0-8BAE-BDF444BF2DEB}" type="presParOf" srcId="{07811564-9B6C-4B12-9B53-7BDFD903A729}" destId="{6ADD32F7-2E21-4861-8F9F-E76D10733F4C}" srcOrd="1" destOrd="0" presId="urn:microsoft.com/office/officeart/2005/8/layout/chevron2"/>
    <dgm:cxn modelId="{5F4C54E5-E0BA-4ABC-AE9B-9E462893095A}" type="presParOf" srcId="{A71D2E7E-812C-400A-B5D7-A3CB460500B2}" destId="{1FB204BC-23EC-4064-95D4-AB2EB6D04302}" srcOrd="1" destOrd="0" presId="urn:microsoft.com/office/officeart/2005/8/layout/chevron2"/>
    <dgm:cxn modelId="{40AB9B1B-47A5-4590-92E6-CA55B04DC188}" type="presParOf" srcId="{A71D2E7E-812C-400A-B5D7-A3CB460500B2}" destId="{7A6E33C2-A80F-4619-8B16-762DFAA04A3C}" srcOrd="2" destOrd="0" presId="urn:microsoft.com/office/officeart/2005/8/layout/chevron2"/>
    <dgm:cxn modelId="{4ED7BC57-BD5C-4FD4-B209-94ADD31DDFAF}" type="presParOf" srcId="{7A6E33C2-A80F-4619-8B16-762DFAA04A3C}" destId="{9AEF19E6-D631-41BC-A3BD-4C7734F70E07}" srcOrd="0" destOrd="0" presId="urn:microsoft.com/office/officeart/2005/8/layout/chevron2"/>
    <dgm:cxn modelId="{BA750F37-33D7-4937-B015-BC416DB629C6}" type="presParOf" srcId="{7A6E33C2-A80F-4619-8B16-762DFAA04A3C}" destId="{9F362DF8-012B-4AFF-B79E-AE4017386FF9}" srcOrd="1" destOrd="0" presId="urn:microsoft.com/office/officeart/2005/8/layout/chevron2"/>
    <dgm:cxn modelId="{5DCC4E8D-828B-4ACC-870F-5A953ABE79FD}" type="presParOf" srcId="{A71D2E7E-812C-400A-B5D7-A3CB460500B2}" destId="{A5902B53-D6AF-4A34-A83E-D8A112A45F39}" srcOrd="3" destOrd="0" presId="urn:microsoft.com/office/officeart/2005/8/layout/chevron2"/>
    <dgm:cxn modelId="{820597AF-C5B7-4A8D-A55B-E015CF7BB1F6}" type="presParOf" srcId="{A71D2E7E-812C-400A-B5D7-A3CB460500B2}" destId="{B1902337-284B-42A7-82F6-282737BEEFC1}" srcOrd="4" destOrd="0" presId="urn:microsoft.com/office/officeart/2005/8/layout/chevron2"/>
    <dgm:cxn modelId="{DF3776BE-1A6E-4EAE-9149-0B21CFA124B5}" type="presParOf" srcId="{B1902337-284B-42A7-82F6-282737BEEFC1}" destId="{EF3B218F-0B98-4950-9FCD-0A30BDE22F34}" srcOrd="0" destOrd="0" presId="urn:microsoft.com/office/officeart/2005/8/layout/chevron2"/>
    <dgm:cxn modelId="{F9CDE0E8-A061-4D66-BC21-E24258AC394A}" type="presParOf" srcId="{B1902337-284B-42A7-82F6-282737BEEFC1}" destId="{C7F8EF93-B9F3-48EC-8EE5-A79F0EC80B89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9483404-87BE-4819-82F8-83EA91816804}" type="doc">
      <dgm:prSet loTypeId="urn:microsoft.com/office/officeart/2005/8/layout/chevron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72E86071-AE45-4C9F-85CE-DA02235EC08F}">
      <dgm:prSet phldrT="[Texte]"/>
      <dgm:spPr>
        <a:solidFill>
          <a:schemeClr val="accent6"/>
        </a:solidFill>
      </dgm:spPr>
      <dgm:t>
        <a:bodyPr/>
        <a:lstStyle/>
        <a:p>
          <a:r>
            <a:rPr lang="fr-FR" b="1" dirty="0">
              <a:solidFill>
                <a:schemeClr val="tx1"/>
              </a:solidFill>
              <a:latin typeface="+mn-lt"/>
              <a:ea typeface="+mn-ea"/>
              <a:cs typeface="+mn-cs"/>
            </a:rPr>
            <a:t>Construire et se développer</a:t>
          </a:r>
          <a:endParaRPr lang="fr-FR" dirty="0">
            <a:solidFill>
              <a:schemeClr val="tx1"/>
            </a:solidFill>
          </a:endParaRPr>
        </a:p>
      </dgm:t>
    </dgm:pt>
    <dgm:pt modelId="{B7EE81E3-EA50-40CC-801B-14FFBCA3EF61}" type="parTrans" cxnId="{2678DB3F-0E13-4BCD-ABDA-7BED6077B69B}">
      <dgm:prSet/>
      <dgm:spPr/>
      <dgm:t>
        <a:bodyPr/>
        <a:lstStyle/>
        <a:p>
          <a:endParaRPr lang="fr-FR"/>
        </a:p>
      </dgm:t>
    </dgm:pt>
    <dgm:pt modelId="{213B4C1F-2E85-4018-BA33-DD91866374F9}" type="sibTrans" cxnId="{2678DB3F-0E13-4BCD-ABDA-7BED6077B69B}">
      <dgm:prSet/>
      <dgm:spPr/>
      <dgm:t>
        <a:bodyPr/>
        <a:lstStyle/>
        <a:p>
          <a:endParaRPr lang="fr-FR"/>
        </a:p>
      </dgm:t>
    </dgm:pt>
    <dgm:pt modelId="{F01DA7AB-CE81-4495-BBE9-92D6A9925AB8}">
      <dgm:prSet phldrT="[Texte]" custT="1"/>
      <dgm:spPr/>
      <dgm:t>
        <a:bodyPr/>
        <a:lstStyle/>
        <a:p>
          <a:r>
            <a:rPr lang="fr-FR" sz="1200" b="0" i="0" u="none" strike="noStrike" dirty="0">
              <a:solidFill>
                <a:schemeClr val="tx1"/>
              </a:solidFill>
              <a:effectLst/>
              <a:latin typeface="+mn-lt"/>
            </a:rPr>
            <a:t>Autour de l'élan Paris 2024</a:t>
          </a:r>
          <a:endParaRPr lang="fr-FR" sz="1200" dirty="0">
            <a:solidFill>
              <a:schemeClr val="tx1"/>
            </a:solidFill>
          </a:endParaRPr>
        </a:p>
      </dgm:t>
    </dgm:pt>
    <dgm:pt modelId="{7841313B-FB61-40B7-9B64-C1555A99E19F}" type="parTrans" cxnId="{33DFED81-3797-46E9-98CC-87D0179E017C}">
      <dgm:prSet/>
      <dgm:spPr/>
      <dgm:t>
        <a:bodyPr/>
        <a:lstStyle/>
        <a:p>
          <a:endParaRPr lang="fr-FR"/>
        </a:p>
      </dgm:t>
    </dgm:pt>
    <dgm:pt modelId="{99786CE4-A930-42A5-B649-50F2FAD4ED58}" type="sibTrans" cxnId="{33DFED81-3797-46E9-98CC-87D0179E017C}">
      <dgm:prSet/>
      <dgm:spPr/>
      <dgm:t>
        <a:bodyPr/>
        <a:lstStyle/>
        <a:p>
          <a:endParaRPr lang="fr-FR"/>
        </a:p>
      </dgm:t>
    </dgm:pt>
    <dgm:pt modelId="{54AE952C-8419-461C-8F6D-F6F02F4FFF21}">
      <dgm:prSet phldrT="[Texte]"/>
      <dgm:spPr/>
      <dgm:t>
        <a:bodyPr/>
        <a:lstStyle/>
        <a:p>
          <a:endParaRPr lang="fr-FR" sz="600" dirty="0"/>
        </a:p>
      </dgm:t>
    </dgm:pt>
    <dgm:pt modelId="{A163B9C5-4860-465A-9B1B-B6A1E84F957E}" type="parTrans" cxnId="{15258C80-99E0-44C5-BD17-8AA0ACEBD1F3}">
      <dgm:prSet/>
      <dgm:spPr/>
      <dgm:t>
        <a:bodyPr/>
        <a:lstStyle/>
        <a:p>
          <a:endParaRPr lang="fr-FR"/>
        </a:p>
      </dgm:t>
    </dgm:pt>
    <dgm:pt modelId="{A8A9B178-5B8B-4873-AFA8-8CE3D9CAF78F}" type="sibTrans" cxnId="{15258C80-99E0-44C5-BD17-8AA0ACEBD1F3}">
      <dgm:prSet/>
      <dgm:spPr/>
      <dgm:t>
        <a:bodyPr/>
        <a:lstStyle/>
        <a:p>
          <a:endParaRPr lang="fr-FR"/>
        </a:p>
      </dgm:t>
    </dgm:pt>
    <dgm:pt modelId="{57BE97F2-5F7E-4C52-B3D3-6714379166C3}">
      <dgm:prSet phldrT="[Texte]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pPr>
            <a:buClrTx/>
            <a:buSzTx/>
            <a:buFontTx/>
            <a:buNone/>
          </a:pPr>
          <a:r>
            <a:rPr lang="fr-FR" b="1" dirty="0">
              <a:solidFill>
                <a:schemeClr val="tx1"/>
              </a:solidFill>
              <a:latin typeface="+mn-lt"/>
              <a:ea typeface="+mn-ea"/>
              <a:cs typeface="+mn-cs"/>
            </a:rPr>
            <a:t>Pratiquer et Progresser</a:t>
          </a:r>
          <a:endParaRPr lang="fr-FR" b="1" dirty="0">
            <a:solidFill>
              <a:schemeClr val="tx1"/>
            </a:solidFill>
          </a:endParaRPr>
        </a:p>
      </dgm:t>
    </dgm:pt>
    <dgm:pt modelId="{663D691E-DFB3-48B2-A535-7B7D27CC6D42}" type="parTrans" cxnId="{9F5810DA-6AE4-45EC-872C-5851EC32442D}">
      <dgm:prSet/>
      <dgm:spPr/>
      <dgm:t>
        <a:bodyPr/>
        <a:lstStyle/>
        <a:p>
          <a:endParaRPr lang="fr-FR"/>
        </a:p>
      </dgm:t>
    </dgm:pt>
    <dgm:pt modelId="{16D6ABA6-177E-47B1-AF60-2609A39A0DE0}" type="sibTrans" cxnId="{9F5810DA-6AE4-45EC-872C-5851EC32442D}">
      <dgm:prSet/>
      <dgm:spPr/>
      <dgm:t>
        <a:bodyPr/>
        <a:lstStyle/>
        <a:p>
          <a:endParaRPr lang="fr-FR"/>
        </a:p>
      </dgm:t>
    </dgm:pt>
    <dgm:pt modelId="{40014AB8-17B1-4FEA-BC2D-232D43F58968}">
      <dgm:prSet phldrT="[Texte]" custT="1"/>
      <dgm:spPr/>
      <dgm:t>
        <a:bodyPr/>
        <a:lstStyle/>
        <a:p>
          <a:pPr>
            <a:buFont typeface="Wingdings" panose="05000000000000000000" pitchFamily="2" charset="2"/>
            <a:buChar char="§"/>
          </a:pPr>
          <a:r>
            <a:rPr lang="fr-FR" sz="1200" b="0" i="0" u="none" strike="noStrike" dirty="0">
              <a:solidFill>
                <a:schemeClr val="tx1"/>
              </a:solidFill>
              <a:effectLst/>
              <a:latin typeface="Calibri" panose="020F0502020204030204" pitchFamily="34" charset="0"/>
            </a:rPr>
            <a:t>En accompagnant les changements de groupes de niveau</a:t>
          </a:r>
          <a:endParaRPr lang="fr-FR" sz="1200" dirty="0">
            <a:solidFill>
              <a:schemeClr val="tx1"/>
            </a:solidFill>
          </a:endParaRPr>
        </a:p>
      </dgm:t>
    </dgm:pt>
    <dgm:pt modelId="{26CF1BD1-F0A6-4657-9764-5332CCF2E243}" type="parTrans" cxnId="{94D5CB76-5D49-4849-A631-3FF8830D5EF8}">
      <dgm:prSet/>
      <dgm:spPr/>
      <dgm:t>
        <a:bodyPr/>
        <a:lstStyle/>
        <a:p>
          <a:endParaRPr lang="fr-FR"/>
        </a:p>
      </dgm:t>
    </dgm:pt>
    <dgm:pt modelId="{7F34F88D-0AA8-4630-A1CD-8D7B36034D9F}" type="sibTrans" cxnId="{94D5CB76-5D49-4849-A631-3FF8830D5EF8}">
      <dgm:prSet/>
      <dgm:spPr/>
      <dgm:t>
        <a:bodyPr/>
        <a:lstStyle/>
        <a:p>
          <a:endParaRPr lang="fr-FR"/>
        </a:p>
      </dgm:t>
    </dgm:pt>
    <dgm:pt modelId="{2BE22C16-6F0D-43AE-9BAC-EA3EBDC0CE5B}">
      <dgm:prSet phldrT="[Texte]"/>
      <dgm:spPr>
        <a:solidFill>
          <a:schemeClr val="accent6">
            <a:lumMod val="75000"/>
          </a:schemeClr>
        </a:solidFill>
      </dgm:spPr>
      <dgm:t>
        <a:bodyPr/>
        <a:lstStyle/>
        <a:p>
          <a:r>
            <a:rPr lang="fr-FR" b="1" dirty="0">
              <a:solidFill>
                <a:schemeClr val="tx1"/>
              </a:solidFill>
            </a:rPr>
            <a:t>Innover et dématérialiser</a:t>
          </a:r>
        </a:p>
      </dgm:t>
    </dgm:pt>
    <dgm:pt modelId="{048F30D5-A297-451F-BE41-D67B7FB1601C}" type="parTrans" cxnId="{959228F9-B3FE-42DF-B8BA-98030D86FAF5}">
      <dgm:prSet/>
      <dgm:spPr/>
      <dgm:t>
        <a:bodyPr/>
        <a:lstStyle/>
        <a:p>
          <a:endParaRPr lang="fr-FR"/>
        </a:p>
      </dgm:t>
    </dgm:pt>
    <dgm:pt modelId="{3B8B98D5-9F65-4707-86EE-CF9D48FC735E}" type="sibTrans" cxnId="{959228F9-B3FE-42DF-B8BA-98030D86FAF5}">
      <dgm:prSet/>
      <dgm:spPr/>
      <dgm:t>
        <a:bodyPr/>
        <a:lstStyle/>
        <a:p>
          <a:endParaRPr lang="fr-FR"/>
        </a:p>
      </dgm:t>
    </dgm:pt>
    <dgm:pt modelId="{D8B08188-A269-4987-A469-EF7E1ECD2C6D}">
      <dgm:prSet phldrT="[Texte]" custT="1"/>
      <dgm:spPr/>
      <dgm:t>
        <a:bodyPr/>
        <a:lstStyle/>
        <a:p>
          <a:pPr>
            <a:buFont typeface="Wingdings" panose="05000000000000000000" pitchFamily="2" charset="2"/>
            <a:buChar char="§"/>
          </a:pPr>
          <a:r>
            <a:rPr lang="fr-FR" sz="1200" b="0" i="0" u="none" strike="noStrike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En</a:t>
          </a:r>
          <a:r>
            <a:rPr lang="fr-FR" sz="1200" b="0" i="0" u="none" strike="noStrike" baseline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développant</a:t>
          </a:r>
          <a:r>
            <a:rPr lang="fr-FR" sz="1200" b="0" i="0" u="none" strike="noStrike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l'approche RSE : </a:t>
          </a:r>
          <a:r>
            <a:rPr lang="fr-FR" sz="1200" b="0" i="0" u="none" strike="noStrike" dirty="0">
              <a:solidFill>
                <a:srgbClr val="92D050"/>
              </a:solidFill>
              <a:effectLst/>
              <a:latin typeface="Calibri" panose="020F0502020204030204" pitchFamily="34" charset="0"/>
            </a:rPr>
            <a:t>ex recyclage volants avec Décathlon / </a:t>
          </a:r>
          <a:r>
            <a:rPr lang="fr-FR" sz="1200" b="0" i="0" u="none" strike="noStrike" dirty="0" err="1">
              <a:solidFill>
                <a:srgbClr val="92D050"/>
              </a:solidFill>
              <a:effectLst/>
              <a:latin typeface="Calibri" panose="020F0502020204030204" pitchFamily="34" charset="0"/>
            </a:rPr>
            <a:t>Compo’plumes</a:t>
          </a:r>
          <a:endParaRPr lang="fr-FR" sz="1200" dirty="0">
            <a:solidFill>
              <a:srgbClr val="92D050"/>
            </a:solidFill>
          </a:endParaRPr>
        </a:p>
      </dgm:t>
    </dgm:pt>
    <dgm:pt modelId="{123216C9-C250-49B1-BBCB-7E2CB4E8286B}" type="parTrans" cxnId="{1D608C2B-513E-476A-AB69-5757A277DB6D}">
      <dgm:prSet/>
      <dgm:spPr/>
      <dgm:t>
        <a:bodyPr/>
        <a:lstStyle/>
        <a:p>
          <a:endParaRPr lang="fr-FR"/>
        </a:p>
      </dgm:t>
    </dgm:pt>
    <dgm:pt modelId="{305E5A2A-78A3-42DF-B964-B68B2412315A}" type="sibTrans" cxnId="{1D608C2B-513E-476A-AB69-5757A277DB6D}">
      <dgm:prSet/>
      <dgm:spPr/>
      <dgm:t>
        <a:bodyPr/>
        <a:lstStyle/>
        <a:p>
          <a:endParaRPr lang="fr-FR"/>
        </a:p>
      </dgm:t>
    </dgm:pt>
    <dgm:pt modelId="{A827E8BF-A0F1-49DD-AF7D-95F466338C74}">
      <dgm:prSet phldrT="[Texte]"/>
      <dgm:spPr/>
      <dgm:t>
        <a:bodyPr/>
        <a:lstStyle/>
        <a:p>
          <a:pPr>
            <a:buClrTx/>
            <a:buSzTx/>
            <a:buFont typeface="Arial" panose="020B0604020202020204" pitchFamily="34" charset="0"/>
            <a:buChar char="•"/>
          </a:pPr>
          <a:endParaRPr lang="fr-FR" sz="1000" dirty="0"/>
        </a:p>
      </dgm:t>
    </dgm:pt>
    <dgm:pt modelId="{D5891FCE-94A7-446B-B78F-9D85B7AB6B4E}" type="parTrans" cxnId="{0CF1C473-0482-4AFD-89BE-79AABAAB82E7}">
      <dgm:prSet/>
      <dgm:spPr/>
      <dgm:t>
        <a:bodyPr/>
        <a:lstStyle/>
        <a:p>
          <a:endParaRPr lang="fr-FR"/>
        </a:p>
      </dgm:t>
    </dgm:pt>
    <dgm:pt modelId="{93E2A692-17E3-411D-BDBD-1AB0D00DA3B1}" type="sibTrans" cxnId="{0CF1C473-0482-4AFD-89BE-79AABAAB82E7}">
      <dgm:prSet/>
      <dgm:spPr/>
      <dgm:t>
        <a:bodyPr/>
        <a:lstStyle/>
        <a:p>
          <a:endParaRPr lang="fr-FR"/>
        </a:p>
      </dgm:t>
    </dgm:pt>
    <dgm:pt modelId="{C7930EB1-FDC6-460C-BF4D-77C6CAE70BFB}">
      <dgm:prSet phldrT="[Texte]" custT="1"/>
      <dgm:spPr/>
      <dgm:t>
        <a:bodyPr/>
        <a:lstStyle/>
        <a:p>
          <a:pPr>
            <a:buFont typeface="Wingdings" panose="05000000000000000000" pitchFamily="2" charset="2"/>
            <a:buChar char="§"/>
          </a:pPr>
          <a:r>
            <a:rPr lang="fr-FR" sz="1200" b="0" i="0" u="none" strike="noStrike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En proposant</a:t>
          </a:r>
          <a:r>
            <a:rPr lang="fr-FR" sz="1200" b="0" i="0" u="none" strike="noStrike" baseline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les </a:t>
          </a:r>
          <a:r>
            <a:rPr lang="fr-FR" sz="1200" b="0" i="0" u="none" strike="noStrike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Inscriptions dématérialisées</a:t>
          </a:r>
          <a:endParaRPr lang="fr-FR" sz="1200" dirty="0"/>
        </a:p>
      </dgm:t>
    </dgm:pt>
    <dgm:pt modelId="{C87F44D4-8336-4A02-9CC2-C78D79AA5E0B}" type="parTrans" cxnId="{07D69670-D4CE-4343-A40E-D50A662E521C}">
      <dgm:prSet/>
      <dgm:spPr/>
      <dgm:t>
        <a:bodyPr/>
        <a:lstStyle/>
        <a:p>
          <a:endParaRPr lang="fr-FR"/>
        </a:p>
      </dgm:t>
    </dgm:pt>
    <dgm:pt modelId="{38C66964-97F8-4174-9E21-08AEC02702BE}" type="sibTrans" cxnId="{07D69670-D4CE-4343-A40E-D50A662E521C}">
      <dgm:prSet/>
      <dgm:spPr/>
      <dgm:t>
        <a:bodyPr/>
        <a:lstStyle/>
        <a:p>
          <a:endParaRPr lang="fr-FR"/>
        </a:p>
      </dgm:t>
    </dgm:pt>
    <dgm:pt modelId="{A7E82159-12BA-4E49-8F93-0BA4403012D8}">
      <dgm:prSet phldrT="[Texte]" custT="1"/>
      <dgm:spPr/>
      <dgm:t>
        <a:bodyPr/>
        <a:lstStyle/>
        <a:p>
          <a:pPr>
            <a:buFont typeface="Wingdings" panose="05000000000000000000" pitchFamily="2" charset="2"/>
            <a:buChar char="§"/>
          </a:pPr>
          <a:r>
            <a:rPr lang="fr-FR" sz="1200" b="0" i="0" u="none" strike="noStrike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En</a:t>
          </a:r>
          <a:r>
            <a:rPr lang="fr-FR" sz="1200" b="0" i="0" u="none" strike="noStrike" baseline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d</a:t>
          </a:r>
          <a:r>
            <a:rPr lang="fr-FR" sz="1200" b="0" i="0" u="none" strike="noStrike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éveloppant la communication numérique</a:t>
          </a:r>
          <a:endParaRPr lang="fr-FR" sz="1200" dirty="0"/>
        </a:p>
      </dgm:t>
    </dgm:pt>
    <dgm:pt modelId="{3A797990-92A6-4319-94FA-4A4116D4DF8A}" type="parTrans" cxnId="{F365FCCC-61CF-4E1F-A24F-D43F3DCD535D}">
      <dgm:prSet/>
      <dgm:spPr/>
      <dgm:t>
        <a:bodyPr/>
        <a:lstStyle/>
        <a:p>
          <a:endParaRPr lang="fr-FR"/>
        </a:p>
      </dgm:t>
    </dgm:pt>
    <dgm:pt modelId="{F0C69285-4830-432D-9862-F0F83876E9EA}" type="sibTrans" cxnId="{F365FCCC-61CF-4E1F-A24F-D43F3DCD535D}">
      <dgm:prSet/>
      <dgm:spPr/>
      <dgm:t>
        <a:bodyPr/>
        <a:lstStyle/>
        <a:p>
          <a:endParaRPr lang="fr-FR"/>
        </a:p>
      </dgm:t>
    </dgm:pt>
    <dgm:pt modelId="{387273D2-2CD7-46F1-8377-2109E46FD2F9}">
      <dgm:prSet phldrT="[Texte]" custT="1"/>
      <dgm:spPr/>
      <dgm:t>
        <a:bodyPr/>
        <a:lstStyle/>
        <a:p>
          <a:pPr>
            <a:buClrTx/>
            <a:buSzTx/>
            <a:buFont typeface="Wingdings" panose="05000000000000000000" pitchFamily="2" charset="2"/>
            <a:buChar char="§"/>
          </a:pPr>
          <a:r>
            <a:rPr lang="fr-FR" sz="1200" b="0" i="0" u="none" strike="noStrike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Mise en place de reçus fiscaux</a:t>
          </a:r>
          <a:endParaRPr lang="fr-FR" sz="1200" dirty="0"/>
        </a:p>
      </dgm:t>
    </dgm:pt>
    <dgm:pt modelId="{98DCBA16-FE7B-4660-A942-58F339F20CF0}" type="parTrans" cxnId="{DB22A632-2C6C-4474-8975-CE0C54789FCD}">
      <dgm:prSet/>
      <dgm:spPr/>
      <dgm:t>
        <a:bodyPr/>
        <a:lstStyle/>
        <a:p>
          <a:endParaRPr lang="fr-FR"/>
        </a:p>
      </dgm:t>
    </dgm:pt>
    <dgm:pt modelId="{580A77AF-DBE3-4683-92E7-1C7DD982601D}" type="sibTrans" cxnId="{DB22A632-2C6C-4474-8975-CE0C54789FCD}">
      <dgm:prSet/>
      <dgm:spPr/>
      <dgm:t>
        <a:bodyPr/>
        <a:lstStyle/>
        <a:p>
          <a:endParaRPr lang="fr-FR"/>
        </a:p>
      </dgm:t>
    </dgm:pt>
    <dgm:pt modelId="{0F3BF520-AA93-4AAC-AC3F-26FAA6D942C8}">
      <dgm:prSet phldrT="[Texte]" custT="1"/>
      <dgm:spPr/>
      <dgm:t>
        <a:bodyPr/>
        <a:lstStyle/>
        <a:p>
          <a:pPr>
            <a:buClrTx/>
            <a:buSzTx/>
            <a:buFont typeface="Wingdings" panose="05000000000000000000" pitchFamily="2" charset="2"/>
            <a:buChar char="§"/>
          </a:pPr>
          <a:r>
            <a:rPr lang="fr-FR" sz="1200" b="0" i="0" u="none" strike="noStrike" dirty="0">
              <a:solidFill>
                <a:schemeClr val="tx1"/>
              </a:solidFill>
              <a:effectLst/>
              <a:latin typeface="Calibri" panose="020F0502020204030204" pitchFamily="34" charset="0"/>
            </a:rPr>
            <a:t>Avec mise en place des préconisations des Fédérations, Ligues, Comités</a:t>
          </a:r>
          <a:endParaRPr lang="fr-FR" sz="1200" dirty="0">
            <a:solidFill>
              <a:schemeClr val="tx1"/>
            </a:solidFill>
          </a:endParaRPr>
        </a:p>
      </dgm:t>
    </dgm:pt>
    <dgm:pt modelId="{F45BCA46-9926-41AC-80D2-2E36FB2AFCF8}" type="parTrans" cxnId="{BA90452C-B86E-4F6D-B70B-C5E2A6DE48D6}">
      <dgm:prSet/>
      <dgm:spPr/>
      <dgm:t>
        <a:bodyPr/>
        <a:lstStyle/>
        <a:p>
          <a:endParaRPr lang="fr-FR"/>
        </a:p>
      </dgm:t>
    </dgm:pt>
    <dgm:pt modelId="{8438FD5B-7DB2-48B7-982C-F18402B4F864}" type="sibTrans" cxnId="{BA90452C-B86E-4F6D-B70B-C5E2A6DE48D6}">
      <dgm:prSet/>
      <dgm:spPr/>
      <dgm:t>
        <a:bodyPr/>
        <a:lstStyle/>
        <a:p>
          <a:endParaRPr lang="fr-FR"/>
        </a:p>
      </dgm:t>
    </dgm:pt>
    <dgm:pt modelId="{B185D19E-F0E6-4BF0-863C-D1410B128E2B}">
      <dgm:prSet phldrT="[Texte]" custT="1"/>
      <dgm:spPr/>
      <dgm:t>
        <a:bodyPr/>
        <a:lstStyle/>
        <a:p>
          <a:pPr>
            <a:buClrTx/>
            <a:buSzTx/>
            <a:buFont typeface="Wingdings" panose="05000000000000000000" pitchFamily="2" charset="2"/>
            <a:buChar char="§"/>
          </a:pPr>
          <a:r>
            <a:rPr lang="fr-FR" sz="1200" b="0" i="0" u="none" strike="noStrike" dirty="0">
              <a:solidFill>
                <a:schemeClr val="tx1"/>
              </a:solidFill>
              <a:effectLst/>
              <a:latin typeface="Calibri" panose="020F0502020204030204" pitchFamily="34" charset="0"/>
            </a:rPr>
            <a:t>En organisant des déplacements collectifs (tournois, tournoi en province)</a:t>
          </a:r>
          <a:endParaRPr lang="fr-FR" sz="1200" dirty="0">
            <a:solidFill>
              <a:schemeClr val="tx1"/>
            </a:solidFill>
          </a:endParaRPr>
        </a:p>
      </dgm:t>
    </dgm:pt>
    <dgm:pt modelId="{72B1153A-F2B1-49B9-AE4E-BF36BE17E6FC}" type="parTrans" cxnId="{AD5C6C45-BC48-437B-9915-BD25D459773F}">
      <dgm:prSet/>
      <dgm:spPr/>
      <dgm:t>
        <a:bodyPr/>
        <a:lstStyle/>
        <a:p>
          <a:endParaRPr lang="fr-FR"/>
        </a:p>
      </dgm:t>
    </dgm:pt>
    <dgm:pt modelId="{5F05EC42-5F3E-4487-89DE-1BAF409D5506}" type="sibTrans" cxnId="{AD5C6C45-BC48-437B-9915-BD25D459773F}">
      <dgm:prSet/>
      <dgm:spPr/>
      <dgm:t>
        <a:bodyPr/>
        <a:lstStyle/>
        <a:p>
          <a:endParaRPr lang="fr-FR"/>
        </a:p>
      </dgm:t>
    </dgm:pt>
    <dgm:pt modelId="{4CD54849-B0FC-43C8-B345-C7EC0314AED2}">
      <dgm:prSet phldrT="[Texte]" custT="1"/>
      <dgm:spPr/>
      <dgm:t>
        <a:bodyPr/>
        <a:lstStyle/>
        <a:p>
          <a:pPr>
            <a:buClrTx/>
            <a:buSzTx/>
            <a:buFont typeface="Wingdings" panose="05000000000000000000" pitchFamily="2" charset="2"/>
            <a:buChar char="§"/>
          </a:pPr>
          <a:r>
            <a:rPr lang="fr-FR" sz="1200" b="0" i="0" u="none" strike="noStrike" dirty="0">
              <a:solidFill>
                <a:schemeClr val="tx1"/>
              </a:solidFill>
              <a:effectLst/>
              <a:latin typeface="Calibri" panose="020F0502020204030204" pitchFamily="34" charset="0"/>
            </a:rPr>
            <a:t>En</a:t>
          </a:r>
          <a:r>
            <a:rPr lang="fr-FR" sz="1200" b="0" i="0" u="none" strike="noStrike" baseline="0" dirty="0">
              <a:solidFill>
                <a:schemeClr val="tx1"/>
              </a:solidFill>
              <a:effectLst/>
              <a:latin typeface="Calibri" panose="020F0502020204030204" pitchFamily="34" charset="0"/>
            </a:rPr>
            <a:t> organisant</a:t>
          </a:r>
          <a:r>
            <a:rPr lang="fr-FR" sz="1200" b="0" i="0" u="none" strike="noStrike" dirty="0">
              <a:solidFill>
                <a:schemeClr val="tx1"/>
              </a:solidFill>
              <a:effectLst/>
              <a:latin typeface="Calibri" panose="020F0502020204030204" pitchFamily="34" charset="0"/>
            </a:rPr>
            <a:t> et en participant à des stages</a:t>
          </a:r>
          <a:endParaRPr lang="fr-FR" sz="1200" dirty="0">
            <a:solidFill>
              <a:schemeClr val="tx1"/>
            </a:solidFill>
          </a:endParaRPr>
        </a:p>
      </dgm:t>
    </dgm:pt>
    <dgm:pt modelId="{B08D523D-8268-41A0-B37B-4481F11B9944}" type="parTrans" cxnId="{0BD714E1-ADCF-4C83-848E-8EAF78E35165}">
      <dgm:prSet/>
      <dgm:spPr/>
      <dgm:t>
        <a:bodyPr/>
        <a:lstStyle/>
        <a:p>
          <a:endParaRPr lang="fr-FR"/>
        </a:p>
      </dgm:t>
    </dgm:pt>
    <dgm:pt modelId="{F0A5E7B0-3197-4DEF-B056-71293B953582}" type="sibTrans" cxnId="{0BD714E1-ADCF-4C83-848E-8EAF78E35165}">
      <dgm:prSet/>
      <dgm:spPr/>
      <dgm:t>
        <a:bodyPr/>
        <a:lstStyle/>
        <a:p>
          <a:endParaRPr lang="fr-FR"/>
        </a:p>
      </dgm:t>
    </dgm:pt>
    <dgm:pt modelId="{3AF916D1-251B-48BE-9D96-E5179B7150D6}">
      <dgm:prSet phldrT="[Texte]" custT="1"/>
      <dgm:spPr/>
      <dgm:t>
        <a:bodyPr/>
        <a:lstStyle/>
        <a:p>
          <a:pPr>
            <a:buFont typeface="Wingdings" panose="05000000000000000000" pitchFamily="2" charset="2"/>
            <a:buChar char="§"/>
          </a:pPr>
          <a:r>
            <a:rPr lang="fr-FR" sz="1200" b="0" i="0" u="none" strike="noStrike" dirty="0">
              <a:solidFill>
                <a:schemeClr val="tx1"/>
              </a:solidFill>
              <a:effectLst/>
              <a:latin typeface="Calibri" panose="020F0502020204030204" pitchFamily="34" charset="0"/>
            </a:rPr>
            <a:t>En</a:t>
          </a:r>
          <a:r>
            <a:rPr lang="fr-FR" sz="1200" b="0" i="0" u="none" strike="noStrike" baseline="0" dirty="0">
              <a:solidFill>
                <a:schemeClr val="tx1"/>
              </a:solidFill>
              <a:effectLst/>
              <a:latin typeface="Calibri" panose="020F0502020204030204" pitchFamily="34" charset="0"/>
            </a:rPr>
            <a:t> r</a:t>
          </a:r>
          <a:r>
            <a:rPr lang="fr-FR" sz="1200" b="0" i="0" u="none" strike="noStrike" dirty="0">
              <a:solidFill>
                <a:schemeClr val="tx1"/>
              </a:solidFill>
              <a:effectLst/>
              <a:latin typeface="Calibri" panose="020F0502020204030204" pitchFamily="34" charset="0"/>
            </a:rPr>
            <a:t>enforçant les liens avec les clubs proches</a:t>
          </a:r>
          <a:endParaRPr lang="fr-FR" sz="1200" dirty="0">
            <a:solidFill>
              <a:schemeClr val="tx1"/>
            </a:solidFill>
          </a:endParaRPr>
        </a:p>
      </dgm:t>
    </dgm:pt>
    <dgm:pt modelId="{C462B8E8-4482-4780-923C-9D57404941D8}" type="parTrans" cxnId="{3ECAE0D5-5F3B-4052-9EDB-2AFC037D7553}">
      <dgm:prSet/>
      <dgm:spPr/>
      <dgm:t>
        <a:bodyPr/>
        <a:lstStyle/>
        <a:p>
          <a:endParaRPr lang="fr-FR"/>
        </a:p>
      </dgm:t>
    </dgm:pt>
    <dgm:pt modelId="{1FDF6320-BB58-4709-AE54-25467AD5BCDD}" type="sibTrans" cxnId="{3ECAE0D5-5F3B-4052-9EDB-2AFC037D7553}">
      <dgm:prSet/>
      <dgm:spPr/>
      <dgm:t>
        <a:bodyPr/>
        <a:lstStyle/>
        <a:p>
          <a:endParaRPr lang="fr-FR"/>
        </a:p>
      </dgm:t>
    </dgm:pt>
    <dgm:pt modelId="{9B070F38-1B50-465A-8898-C361CACFDFB8}">
      <dgm:prSet phldrT="[Texte]" custT="1"/>
      <dgm:spPr/>
      <dgm:t>
        <a:bodyPr/>
        <a:lstStyle/>
        <a:p>
          <a:pPr>
            <a:buClrTx/>
            <a:buSzTx/>
            <a:buFont typeface="Wingdings" panose="05000000000000000000" pitchFamily="2" charset="2"/>
            <a:buChar char="§"/>
          </a:pPr>
          <a:r>
            <a:rPr lang="fr-FR" sz="1200" b="0" i="0" u="none" strike="noStrike" dirty="0">
              <a:solidFill>
                <a:schemeClr val="tx1"/>
              </a:solidFill>
              <a:effectLst/>
              <a:latin typeface="Calibri" panose="020F0502020204030204" pitchFamily="34" charset="0"/>
            </a:rPr>
            <a:t>En</a:t>
          </a:r>
          <a:r>
            <a:rPr lang="fr-FR" sz="1200" b="0" i="0" u="none" strike="noStrike" baseline="0" dirty="0">
              <a:solidFill>
                <a:schemeClr val="tx1"/>
              </a:solidFill>
              <a:effectLst/>
              <a:latin typeface="Calibri" panose="020F0502020204030204" pitchFamily="34" charset="0"/>
            </a:rPr>
            <a:t> définissant</a:t>
          </a:r>
          <a:r>
            <a:rPr lang="fr-FR" sz="1200" b="0" i="0" u="none" strike="noStrike" dirty="0">
              <a:solidFill>
                <a:schemeClr val="tx1"/>
              </a:solidFill>
              <a:effectLst/>
              <a:latin typeface="Calibri" panose="020F0502020204030204" pitchFamily="34" charset="0"/>
            </a:rPr>
            <a:t>  des ambitions de niveau du club à 3 ans</a:t>
          </a:r>
          <a:endParaRPr lang="fr-FR" sz="1200" dirty="0">
            <a:solidFill>
              <a:schemeClr val="tx1"/>
            </a:solidFill>
          </a:endParaRPr>
        </a:p>
      </dgm:t>
    </dgm:pt>
    <dgm:pt modelId="{BAC87563-BBC8-4CB1-9087-358F4CF2ED1D}" type="parTrans" cxnId="{44079FBC-A574-4718-B8B7-8E3048C550A5}">
      <dgm:prSet/>
      <dgm:spPr/>
      <dgm:t>
        <a:bodyPr/>
        <a:lstStyle/>
        <a:p>
          <a:endParaRPr lang="fr-FR"/>
        </a:p>
      </dgm:t>
    </dgm:pt>
    <dgm:pt modelId="{9D519E37-C72E-4B66-A6AD-6F91F9380CD3}" type="sibTrans" cxnId="{44079FBC-A574-4718-B8B7-8E3048C550A5}">
      <dgm:prSet/>
      <dgm:spPr/>
      <dgm:t>
        <a:bodyPr/>
        <a:lstStyle/>
        <a:p>
          <a:endParaRPr lang="fr-FR"/>
        </a:p>
      </dgm:t>
    </dgm:pt>
    <dgm:pt modelId="{57E9477D-1A66-4308-B76B-F3BA0E5B4C31}">
      <dgm:prSet phldrT="[Texte]" custT="1"/>
      <dgm:spPr/>
      <dgm:t>
        <a:bodyPr/>
        <a:lstStyle/>
        <a:p>
          <a:r>
            <a:rPr lang="fr-FR" sz="1200" b="0" i="0" u="none" strike="noStrike" dirty="0">
              <a:solidFill>
                <a:srgbClr val="000000"/>
              </a:solidFill>
              <a:effectLst/>
              <a:latin typeface="+mn-lt"/>
            </a:rPr>
            <a:t>Grâce à un</a:t>
          </a:r>
          <a:r>
            <a:rPr lang="fr-FR" sz="1200" b="0" i="0" u="none" strike="noStrike" baseline="0" dirty="0">
              <a:solidFill>
                <a:srgbClr val="000000"/>
              </a:solidFill>
              <a:effectLst/>
              <a:latin typeface="+mn-lt"/>
            </a:rPr>
            <a:t> </a:t>
          </a:r>
          <a:r>
            <a:rPr lang="fr-FR" sz="1200" b="0" i="0" u="none" strike="noStrike" dirty="0">
              <a:solidFill>
                <a:srgbClr val="000000"/>
              </a:solidFill>
              <a:effectLst/>
              <a:latin typeface="+mn-lt"/>
            </a:rPr>
            <a:t>Plan de développement adapté aux moyens (humains, financiers) et aux ambitions</a:t>
          </a:r>
          <a:endParaRPr lang="fr-FR" sz="1200" dirty="0">
            <a:solidFill>
              <a:schemeClr val="tx1"/>
            </a:solidFill>
          </a:endParaRPr>
        </a:p>
      </dgm:t>
    </dgm:pt>
    <dgm:pt modelId="{1E48495B-AD82-470D-AD61-56262CB7753B}" type="parTrans" cxnId="{C1E1A24A-FDD1-439E-A368-2F3469F6B005}">
      <dgm:prSet/>
      <dgm:spPr/>
      <dgm:t>
        <a:bodyPr/>
        <a:lstStyle/>
        <a:p>
          <a:endParaRPr lang="fr-FR"/>
        </a:p>
      </dgm:t>
    </dgm:pt>
    <dgm:pt modelId="{C9FF0B1B-832B-4BE6-8F13-7AA383C910CA}" type="sibTrans" cxnId="{C1E1A24A-FDD1-439E-A368-2F3469F6B005}">
      <dgm:prSet/>
      <dgm:spPr/>
      <dgm:t>
        <a:bodyPr/>
        <a:lstStyle/>
        <a:p>
          <a:endParaRPr lang="fr-FR"/>
        </a:p>
      </dgm:t>
    </dgm:pt>
    <dgm:pt modelId="{12FEDCD6-5899-45CB-90B5-B0CB0E59525B}">
      <dgm:prSet phldrT="[Texte]" custT="1"/>
      <dgm:spPr/>
      <dgm:t>
        <a:bodyPr/>
        <a:lstStyle/>
        <a:p>
          <a:r>
            <a:rPr lang="fr-FR" sz="1200" b="0" i="0" u="none" strike="noStrike" dirty="0">
              <a:solidFill>
                <a:schemeClr val="tx1"/>
              </a:solidFill>
              <a:effectLst/>
              <a:latin typeface="+mn-lt"/>
            </a:rPr>
            <a:t>Grâce</a:t>
          </a:r>
          <a:r>
            <a:rPr lang="fr-FR" sz="1200" b="0" i="0" u="none" strike="noStrike" baseline="0" dirty="0">
              <a:solidFill>
                <a:schemeClr val="tx1"/>
              </a:solidFill>
              <a:effectLst/>
              <a:latin typeface="+mn-lt"/>
            </a:rPr>
            <a:t> à</a:t>
          </a:r>
          <a:r>
            <a:rPr lang="fr-FR" sz="1200" b="0" i="0" u="none" strike="noStrike" dirty="0">
              <a:solidFill>
                <a:schemeClr val="tx1"/>
              </a:solidFill>
              <a:effectLst/>
              <a:latin typeface="+mn-lt"/>
            </a:rPr>
            <a:t> un plan d'investissements matériels et équipements </a:t>
          </a:r>
          <a:endParaRPr lang="fr-FR" sz="1200" dirty="0">
            <a:solidFill>
              <a:schemeClr val="tx1"/>
            </a:solidFill>
          </a:endParaRPr>
        </a:p>
      </dgm:t>
    </dgm:pt>
    <dgm:pt modelId="{F2489DA3-519F-42CA-B5AD-4E8CB8D23913}" type="parTrans" cxnId="{D18FA08C-68AF-4C5A-987D-6B5A1665BA2D}">
      <dgm:prSet/>
      <dgm:spPr/>
      <dgm:t>
        <a:bodyPr/>
        <a:lstStyle/>
        <a:p>
          <a:endParaRPr lang="fr-FR"/>
        </a:p>
      </dgm:t>
    </dgm:pt>
    <dgm:pt modelId="{D20A1BC0-D08B-4A3A-B27E-7CE02B60B945}" type="sibTrans" cxnId="{D18FA08C-68AF-4C5A-987D-6B5A1665BA2D}">
      <dgm:prSet/>
      <dgm:spPr/>
      <dgm:t>
        <a:bodyPr/>
        <a:lstStyle/>
        <a:p>
          <a:endParaRPr lang="fr-FR"/>
        </a:p>
      </dgm:t>
    </dgm:pt>
    <dgm:pt modelId="{D5C4D02F-88DA-4ACE-88B0-34EBFD5AF730}">
      <dgm:prSet phldrT="[Texte]" custT="1"/>
      <dgm:spPr/>
      <dgm:t>
        <a:bodyPr/>
        <a:lstStyle/>
        <a:p>
          <a:r>
            <a:rPr lang="fr-FR" sz="1200" b="0" i="0" u="none" strike="noStrike" dirty="0">
              <a:solidFill>
                <a:schemeClr val="tx1"/>
              </a:solidFill>
              <a:effectLst/>
              <a:latin typeface="+mn-lt"/>
            </a:rPr>
            <a:t>Au travers de Commissions avec rôles bien définis et communiqués en utilisant les compétences de chacun</a:t>
          </a:r>
          <a:endParaRPr lang="fr-FR" sz="1200" dirty="0">
            <a:solidFill>
              <a:schemeClr val="tx1"/>
            </a:solidFill>
          </a:endParaRPr>
        </a:p>
      </dgm:t>
    </dgm:pt>
    <dgm:pt modelId="{72A9AF22-0BC3-48F4-9C8E-1E2A00433B59}" type="parTrans" cxnId="{358BA51A-B96F-4424-B39A-92D9CB2929A7}">
      <dgm:prSet/>
      <dgm:spPr/>
      <dgm:t>
        <a:bodyPr/>
        <a:lstStyle/>
        <a:p>
          <a:endParaRPr lang="fr-FR"/>
        </a:p>
      </dgm:t>
    </dgm:pt>
    <dgm:pt modelId="{2C04DFDC-3274-4B6B-94A7-C57DF5A43F4C}" type="sibTrans" cxnId="{358BA51A-B96F-4424-B39A-92D9CB2929A7}">
      <dgm:prSet/>
      <dgm:spPr/>
      <dgm:t>
        <a:bodyPr/>
        <a:lstStyle/>
        <a:p>
          <a:endParaRPr lang="fr-FR"/>
        </a:p>
      </dgm:t>
    </dgm:pt>
    <dgm:pt modelId="{8199F01E-9636-49EB-BC40-E33A1BFDAC80}">
      <dgm:prSet phldrT="[Texte]" custT="1"/>
      <dgm:spPr/>
      <dgm:t>
        <a:bodyPr/>
        <a:lstStyle/>
        <a:p>
          <a:r>
            <a:rPr lang="fr-FR" sz="1200" b="0" i="0" u="none" strike="noStrike" dirty="0">
              <a:solidFill>
                <a:schemeClr val="tx1"/>
              </a:solidFill>
              <a:effectLst/>
              <a:latin typeface="+mn-lt"/>
            </a:rPr>
            <a:t>En obtenant des labels en GAM et en BAD</a:t>
          </a:r>
          <a:endParaRPr lang="fr-FR" sz="1200" dirty="0">
            <a:solidFill>
              <a:schemeClr val="tx1"/>
            </a:solidFill>
          </a:endParaRPr>
        </a:p>
      </dgm:t>
    </dgm:pt>
    <dgm:pt modelId="{3DC8C17C-6204-4ADB-83D0-570892AF1BCB}" type="parTrans" cxnId="{E9F669BF-F21E-4EC7-AFAC-C6A88C451599}">
      <dgm:prSet/>
      <dgm:spPr/>
      <dgm:t>
        <a:bodyPr/>
        <a:lstStyle/>
        <a:p>
          <a:endParaRPr lang="fr-FR"/>
        </a:p>
      </dgm:t>
    </dgm:pt>
    <dgm:pt modelId="{041CAC26-FD8E-43BD-AE3D-76C219BB29A2}" type="sibTrans" cxnId="{E9F669BF-F21E-4EC7-AFAC-C6A88C451599}">
      <dgm:prSet/>
      <dgm:spPr/>
      <dgm:t>
        <a:bodyPr/>
        <a:lstStyle/>
        <a:p>
          <a:endParaRPr lang="fr-FR"/>
        </a:p>
      </dgm:t>
    </dgm:pt>
    <dgm:pt modelId="{1632D08E-4C21-4D5D-94FA-C8ABF31734B3}">
      <dgm:prSet phldrT="[Texte]" custT="1"/>
      <dgm:spPr/>
      <dgm:t>
        <a:bodyPr/>
        <a:lstStyle/>
        <a:p>
          <a:r>
            <a:rPr lang="fr-FR" sz="1200" b="0" i="0" u="none" strike="noStrike" dirty="0">
              <a:solidFill>
                <a:schemeClr val="tx1"/>
              </a:solidFill>
              <a:effectLst/>
              <a:latin typeface="+mn-lt"/>
            </a:rPr>
            <a:t>En organisant des compétitions à HERBLAY</a:t>
          </a:r>
          <a:endParaRPr lang="fr-FR" sz="1200" dirty="0">
            <a:solidFill>
              <a:schemeClr val="tx1"/>
            </a:solidFill>
          </a:endParaRPr>
        </a:p>
      </dgm:t>
    </dgm:pt>
    <dgm:pt modelId="{7D17CA18-61D2-4B7B-9C9B-AF71EC9812ED}" type="parTrans" cxnId="{AF92F608-9746-4821-AF10-68E1D4CD864B}">
      <dgm:prSet/>
      <dgm:spPr/>
      <dgm:t>
        <a:bodyPr/>
        <a:lstStyle/>
        <a:p>
          <a:endParaRPr lang="fr-FR"/>
        </a:p>
      </dgm:t>
    </dgm:pt>
    <dgm:pt modelId="{55802554-586C-4800-AC46-8BC52F61DFAB}" type="sibTrans" cxnId="{AF92F608-9746-4821-AF10-68E1D4CD864B}">
      <dgm:prSet/>
      <dgm:spPr/>
      <dgm:t>
        <a:bodyPr/>
        <a:lstStyle/>
        <a:p>
          <a:endParaRPr lang="fr-FR"/>
        </a:p>
      </dgm:t>
    </dgm:pt>
    <dgm:pt modelId="{DCC12E91-E4EE-410E-8BA8-11FC3B4D50FE}">
      <dgm:prSet phldrT="[Texte]" custT="1"/>
      <dgm:spPr/>
      <dgm:t>
        <a:bodyPr/>
        <a:lstStyle/>
        <a:p>
          <a:r>
            <a:rPr lang="fr-FR" sz="1200" b="0" i="0" u="none" strike="noStrike" dirty="0">
              <a:solidFill>
                <a:schemeClr val="tx1"/>
              </a:solidFill>
              <a:effectLst/>
              <a:latin typeface="+mn-lt"/>
            </a:rPr>
            <a:t>Trouver des sponsors et développer le mécénat en tissant des liens avec les entreprises locales</a:t>
          </a:r>
          <a:endParaRPr lang="fr-FR" sz="1200" dirty="0">
            <a:solidFill>
              <a:schemeClr val="tx1"/>
            </a:solidFill>
          </a:endParaRPr>
        </a:p>
      </dgm:t>
    </dgm:pt>
    <dgm:pt modelId="{F233E3E5-5F74-4108-9A94-45C1CD26D857}" type="parTrans" cxnId="{781C28F6-8FCB-4BA0-9932-654EB39A5411}">
      <dgm:prSet/>
      <dgm:spPr/>
      <dgm:t>
        <a:bodyPr/>
        <a:lstStyle/>
        <a:p>
          <a:endParaRPr lang="fr-FR"/>
        </a:p>
      </dgm:t>
    </dgm:pt>
    <dgm:pt modelId="{C0A53F90-8392-45DD-8611-4FF0C316F9DE}" type="sibTrans" cxnId="{781C28F6-8FCB-4BA0-9932-654EB39A5411}">
      <dgm:prSet/>
      <dgm:spPr/>
      <dgm:t>
        <a:bodyPr/>
        <a:lstStyle/>
        <a:p>
          <a:endParaRPr lang="fr-FR"/>
        </a:p>
      </dgm:t>
    </dgm:pt>
    <dgm:pt modelId="{A71D2E7E-812C-400A-B5D7-A3CB460500B2}" type="pres">
      <dgm:prSet presAssocID="{E9483404-87BE-4819-82F8-83EA91816804}" presName="linearFlow" presStyleCnt="0">
        <dgm:presLayoutVars>
          <dgm:dir/>
          <dgm:animLvl val="lvl"/>
          <dgm:resizeHandles val="exact"/>
        </dgm:presLayoutVars>
      </dgm:prSet>
      <dgm:spPr/>
    </dgm:pt>
    <dgm:pt modelId="{07811564-9B6C-4B12-9B53-7BDFD903A729}" type="pres">
      <dgm:prSet presAssocID="{72E86071-AE45-4C9F-85CE-DA02235EC08F}" presName="composite" presStyleCnt="0"/>
      <dgm:spPr/>
    </dgm:pt>
    <dgm:pt modelId="{F063342B-C37C-4694-8403-96B2A88CD2A9}" type="pres">
      <dgm:prSet presAssocID="{72E86071-AE45-4C9F-85CE-DA02235EC08F}" presName="parentText" presStyleLbl="alignNode1" presStyleIdx="0" presStyleCnt="3">
        <dgm:presLayoutVars>
          <dgm:chMax val="1"/>
          <dgm:bulletEnabled val="1"/>
        </dgm:presLayoutVars>
      </dgm:prSet>
      <dgm:spPr/>
    </dgm:pt>
    <dgm:pt modelId="{6ADD32F7-2E21-4861-8F9F-E76D10733F4C}" type="pres">
      <dgm:prSet presAssocID="{72E86071-AE45-4C9F-85CE-DA02235EC08F}" presName="descendantText" presStyleLbl="alignAcc1" presStyleIdx="0" presStyleCnt="3" custScaleY="172176">
        <dgm:presLayoutVars>
          <dgm:bulletEnabled val="1"/>
        </dgm:presLayoutVars>
      </dgm:prSet>
      <dgm:spPr/>
    </dgm:pt>
    <dgm:pt modelId="{1FB204BC-23EC-4064-95D4-AB2EB6D04302}" type="pres">
      <dgm:prSet presAssocID="{213B4C1F-2E85-4018-BA33-DD91866374F9}" presName="sp" presStyleCnt="0"/>
      <dgm:spPr/>
    </dgm:pt>
    <dgm:pt modelId="{7A6E33C2-A80F-4619-8B16-762DFAA04A3C}" type="pres">
      <dgm:prSet presAssocID="{57BE97F2-5F7E-4C52-B3D3-6714379166C3}" presName="composite" presStyleCnt="0"/>
      <dgm:spPr/>
    </dgm:pt>
    <dgm:pt modelId="{9AEF19E6-D631-41BC-A3BD-4C7734F70E07}" type="pres">
      <dgm:prSet presAssocID="{57BE97F2-5F7E-4C52-B3D3-6714379166C3}" presName="parentText" presStyleLbl="alignNode1" presStyleIdx="1" presStyleCnt="3">
        <dgm:presLayoutVars>
          <dgm:chMax val="1"/>
          <dgm:bulletEnabled val="1"/>
        </dgm:presLayoutVars>
      </dgm:prSet>
      <dgm:spPr/>
    </dgm:pt>
    <dgm:pt modelId="{9F362DF8-012B-4AFF-B79E-AE4017386FF9}" type="pres">
      <dgm:prSet presAssocID="{57BE97F2-5F7E-4C52-B3D3-6714379166C3}" presName="descendantText" presStyleLbl="alignAcc1" presStyleIdx="1" presStyleCnt="3" custScaleY="157614">
        <dgm:presLayoutVars>
          <dgm:bulletEnabled val="1"/>
        </dgm:presLayoutVars>
      </dgm:prSet>
      <dgm:spPr/>
    </dgm:pt>
    <dgm:pt modelId="{A5902B53-D6AF-4A34-A83E-D8A112A45F39}" type="pres">
      <dgm:prSet presAssocID="{16D6ABA6-177E-47B1-AF60-2609A39A0DE0}" presName="sp" presStyleCnt="0"/>
      <dgm:spPr/>
    </dgm:pt>
    <dgm:pt modelId="{B1902337-284B-42A7-82F6-282737BEEFC1}" type="pres">
      <dgm:prSet presAssocID="{2BE22C16-6F0D-43AE-9BAC-EA3EBDC0CE5B}" presName="composite" presStyleCnt="0"/>
      <dgm:spPr/>
    </dgm:pt>
    <dgm:pt modelId="{EF3B218F-0B98-4950-9FCD-0A30BDE22F34}" type="pres">
      <dgm:prSet presAssocID="{2BE22C16-6F0D-43AE-9BAC-EA3EBDC0CE5B}" presName="parentText" presStyleLbl="alignNode1" presStyleIdx="2" presStyleCnt="3">
        <dgm:presLayoutVars>
          <dgm:chMax val="1"/>
          <dgm:bulletEnabled val="1"/>
        </dgm:presLayoutVars>
      </dgm:prSet>
      <dgm:spPr/>
    </dgm:pt>
    <dgm:pt modelId="{C7F8EF93-B9F3-48EC-8EE5-A79F0EC80B89}" type="pres">
      <dgm:prSet presAssocID="{2BE22C16-6F0D-43AE-9BAC-EA3EBDC0CE5B}" presName="descendantText" presStyleLbl="alignAcc1" presStyleIdx="2" presStyleCnt="3">
        <dgm:presLayoutVars>
          <dgm:bulletEnabled val="1"/>
        </dgm:presLayoutVars>
      </dgm:prSet>
      <dgm:spPr/>
    </dgm:pt>
  </dgm:ptLst>
  <dgm:cxnLst>
    <dgm:cxn modelId="{06898005-3AE3-47DC-8F65-239A12B31912}" type="presOf" srcId="{C7930EB1-FDC6-460C-BF4D-77C6CAE70BFB}" destId="{C7F8EF93-B9F3-48EC-8EE5-A79F0EC80B89}" srcOrd="0" destOrd="1" presId="urn:microsoft.com/office/officeart/2005/8/layout/chevron2"/>
    <dgm:cxn modelId="{AF92F608-9746-4821-AF10-68E1D4CD864B}" srcId="{72E86071-AE45-4C9F-85CE-DA02235EC08F}" destId="{1632D08E-4C21-4D5D-94FA-C8ABF31734B3}" srcOrd="5" destOrd="0" parTransId="{7D17CA18-61D2-4B7B-9C9B-AF71EC9812ED}" sibTransId="{55802554-586C-4800-AC46-8BC52F61DFAB}"/>
    <dgm:cxn modelId="{83E65C12-577D-413C-A508-76B78B93F670}" type="presOf" srcId="{1632D08E-4C21-4D5D-94FA-C8ABF31734B3}" destId="{6ADD32F7-2E21-4861-8F9F-E76D10733F4C}" srcOrd="0" destOrd="5" presId="urn:microsoft.com/office/officeart/2005/8/layout/chevron2"/>
    <dgm:cxn modelId="{B3CD571A-2187-426B-9A8D-78A4C0907FBB}" type="presOf" srcId="{B185D19E-F0E6-4BF0-863C-D1410B128E2B}" destId="{9F362DF8-012B-4AFF-B79E-AE4017386FF9}" srcOrd="0" destOrd="2" presId="urn:microsoft.com/office/officeart/2005/8/layout/chevron2"/>
    <dgm:cxn modelId="{358BA51A-B96F-4424-B39A-92D9CB2929A7}" srcId="{72E86071-AE45-4C9F-85CE-DA02235EC08F}" destId="{D5C4D02F-88DA-4ACE-88B0-34EBFD5AF730}" srcOrd="3" destOrd="0" parTransId="{72A9AF22-0BC3-48F4-9C8E-1E2A00433B59}" sibTransId="{2C04DFDC-3274-4B6B-94A7-C57DF5A43F4C}"/>
    <dgm:cxn modelId="{65356226-06FC-4B49-A9F9-CA16DEF36DAF}" type="presOf" srcId="{40014AB8-17B1-4FEA-BC2D-232D43F58968}" destId="{9F362DF8-012B-4AFF-B79E-AE4017386FF9}" srcOrd="0" destOrd="0" presId="urn:microsoft.com/office/officeart/2005/8/layout/chevron2"/>
    <dgm:cxn modelId="{9C235227-6A9B-4729-97D2-9B9890BCD7D9}" type="presOf" srcId="{57E9477D-1A66-4308-B76B-F3BA0E5B4C31}" destId="{6ADD32F7-2E21-4861-8F9F-E76D10733F4C}" srcOrd="0" destOrd="1" presId="urn:microsoft.com/office/officeart/2005/8/layout/chevron2"/>
    <dgm:cxn modelId="{95857627-1753-4238-8DF3-F1C0EACB5B72}" type="presOf" srcId="{387273D2-2CD7-46F1-8377-2109E46FD2F9}" destId="{C7F8EF93-B9F3-48EC-8EE5-A79F0EC80B89}" srcOrd="0" destOrd="3" presId="urn:microsoft.com/office/officeart/2005/8/layout/chevron2"/>
    <dgm:cxn modelId="{2D262B29-94A0-430D-AE12-16AF2FC4C818}" type="presOf" srcId="{9B070F38-1B50-465A-8898-C361CACFDFB8}" destId="{9F362DF8-012B-4AFF-B79E-AE4017386FF9}" srcOrd="0" destOrd="5" presId="urn:microsoft.com/office/officeart/2005/8/layout/chevron2"/>
    <dgm:cxn modelId="{E4550B2A-2608-468A-8A98-14A71E04DE15}" type="presOf" srcId="{57BE97F2-5F7E-4C52-B3D3-6714379166C3}" destId="{9AEF19E6-D631-41BC-A3BD-4C7734F70E07}" srcOrd="0" destOrd="0" presId="urn:microsoft.com/office/officeart/2005/8/layout/chevron2"/>
    <dgm:cxn modelId="{0C716A2A-8CAA-4BD1-BA78-9FBDC7032AD8}" type="presOf" srcId="{E9483404-87BE-4819-82F8-83EA91816804}" destId="{A71D2E7E-812C-400A-B5D7-A3CB460500B2}" srcOrd="0" destOrd="0" presId="urn:microsoft.com/office/officeart/2005/8/layout/chevron2"/>
    <dgm:cxn modelId="{1D608C2B-513E-476A-AB69-5757A277DB6D}" srcId="{2BE22C16-6F0D-43AE-9BAC-EA3EBDC0CE5B}" destId="{D8B08188-A269-4987-A469-EF7E1ECD2C6D}" srcOrd="0" destOrd="0" parTransId="{123216C9-C250-49B1-BBCB-7E2CB4E8286B}" sibTransId="{305E5A2A-78A3-42DF-B964-B68B2412315A}"/>
    <dgm:cxn modelId="{BA90452C-B86E-4F6D-B70B-C5E2A6DE48D6}" srcId="{57BE97F2-5F7E-4C52-B3D3-6714379166C3}" destId="{0F3BF520-AA93-4AAC-AC3F-26FAA6D942C8}" srcOrd="1" destOrd="0" parTransId="{F45BCA46-9926-41AC-80D2-2E36FB2AFCF8}" sibTransId="{8438FD5B-7DB2-48B7-982C-F18402B4F864}"/>
    <dgm:cxn modelId="{A716F82C-DDD2-4142-977B-3B8C9FEE877B}" type="presOf" srcId="{D5C4D02F-88DA-4ACE-88B0-34EBFD5AF730}" destId="{6ADD32F7-2E21-4861-8F9F-E76D10733F4C}" srcOrd="0" destOrd="3" presId="urn:microsoft.com/office/officeart/2005/8/layout/chevron2"/>
    <dgm:cxn modelId="{C3DD292D-9847-4534-B416-EC6BFAAD7619}" type="presOf" srcId="{12FEDCD6-5899-45CB-90B5-B0CB0E59525B}" destId="{6ADD32F7-2E21-4861-8F9F-E76D10733F4C}" srcOrd="0" destOrd="2" presId="urn:microsoft.com/office/officeart/2005/8/layout/chevron2"/>
    <dgm:cxn modelId="{DB22A632-2C6C-4474-8975-CE0C54789FCD}" srcId="{2BE22C16-6F0D-43AE-9BAC-EA3EBDC0CE5B}" destId="{387273D2-2CD7-46F1-8377-2109E46FD2F9}" srcOrd="3" destOrd="0" parTransId="{98DCBA16-FE7B-4660-A942-58F339F20CF0}" sibTransId="{580A77AF-DBE3-4683-92E7-1C7DD982601D}"/>
    <dgm:cxn modelId="{2678DB3F-0E13-4BCD-ABDA-7BED6077B69B}" srcId="{E9483404-87BE-4819-82F8-83EA91816804}" destId="{72E86071-AE45-4C9F-85CE-DA02235EC08F}" srcOrd="0" destOrd="0" parTransId="{B7EE81E3-EA50-40CC-801B-14FFBCA3EF61}" sibTransId="{213B4C1F-2E85-4018-BA33-DD91866374F9}"/>
    <dgm:cxn modelId="{976F305C-E0B9-4131-9576-79F46AA97B17}" type="presOf" srcId="{2BE22C16-6F0D-43AE-9BAC-EA3EBDC0CE5B}" destId="{EF3B218F-0B98-4950-9FCD-0A30BDE22F34}" srcOrd="0" destOrd="0" presId="urn:microsoft.com/office/officeart/2005/8/layout/chevron2"/>
    <dgm:cxn modelId="{C6625841-8AFF-4B02-A273-8A05D508AEC4}" type="presOf" srcId="{0F3BF520-AA93-4AAC-AC3F-26FAA6D942C8}" destId="{9F362DF8-012B-4AFF-B79E-AE4017386FF9}" srcOrd="0" destOrd="1" presId="urn:microsoft.com/office/officeart/2005/8/layout/chevron2"/>
    <dgm:cxn modelId="{C6519742-891B-4F09-BA24-96D53698F8F8}" type="presOf" srcId="{D8B08188-A269-4987-A469-EF7E1ECD2C6D}" destId="{C7F8EF93-B9F3-48EC-8EE5-A79F0EC80B89}" srcOrd="0" destOrd="0" presId="urn:microsoft.com/office/officeart/2005/8/layout/chevron2"/>
    <dgm:cxn modelId="{0EC0C164-8B74-4C31-A638-825FC9FEB48E}" type="presOf" srcId="{DCC12E91-E4EE-410E-8BA8-11FC3B4D50FE}" destId="{6ADD32F7-2E21-4861-8F9F-E76D10733F4C}" srcOrd="0" destOrd="6" presId="urn:microsoft.com/office/officeart/2005/8/layout/chevron2"/>
    <dgm:cxn modelId="{AD5C6C45-BC48-437B-9915-BD25D459773F}" srcId="{57BE97F2-5F7E-4C52-B3D3-6714379166C3}" destId="{B185D19E-F0E6-4BF0-863C-D1410B128E2B}" srcOrd="2" destOrd="0" parTransId="{72B1153A-F2B1-49B9-AE4E-BF36BE17E6FC}" sibTransId="{5F05EC42-5F3E-4487-89DE-1BAF409D5506}"/>
    <dgm:cxn modelId="{C1E1A24A-FDD1-439E-A368-2F3469F6B005}" srcId="{72E86071-AE45-4C9F-85CE-DA02235EC08F}" destId="{57E9477D-1A66-4308-B76B-F3BA0E5B4C31}" srcOrd="1" destOrd="0" parTransId="{1E48495B-AD82-470D-AD61-56262CB7753B}" sibTransId="{C9FF0B1B-832B-4BE6-8F13-7AA383C910CA}"/>
    <dgm:cxn modelId="{07D69670-D4CE-4343-A40E-D50A662E521C}" srcId="{2BE22C16-6F0D-43AE-9BAC-EA3EBDC0CE5B}" destId="{C7930EB1-FDC6-460C-BF4D-77C6CAE70BFB}" srcOrd="1" destOrd="0" parTransId="{C87F44D4-8336-4A02-9CC2-C78D79AA5E0B}" sibTransId="{38C66964-97F8-4174-9E21-08AEC02702BE}"/>
    <dgm:cxn modelId="{0CF1C473-0482-4AFD-89BE-79AABAAB82E7}" srcId="{57BE97F2-5F7E-4C52-B3D3-6714379166C3}" destId="{A827E8BF-A0F1-49DD-AF7D-95F466338C74}" srcOrd="6" destOrd="0" parTransId="{D5891FCE-94A7-446B-B78F-9D85B7AB6B4E}" sibTransId="{93E2A692-17E3-411D-BDBD-1AB0D00DA3B1}"/>
    <dgm:cxn modelId="{94D5CB76-5D49-4849-A631-3FF8830D5EF8}" srcId="{57BE97F2-5F7E-4C52-B3D3-6714379166C3}" destId="{40014AB8-17B1-4FEA-BC2D-232D43F58968}" srcOrd="0" destOrd="0" parTransId="{26CF1BD1-F0A6-4657-9764-5332CCF2E243}" sibTransId="{7F34F88D-0AA8-4630-A1CD-8D7B36034D9F}"/>
    <dgm:cxn modelId="{DE6D3F7D-C094-4F56-B0F1-615E172E2050}" type="presOf" srcId="{3AF916D1-251B-48BE-9D96-E5179B7150D6}" destId="{9F362DF8-012B-4AFF-B79E-AE4017386FF9}" srcOrd="0" destOrd="4" presId="urn:microsoft.com/office/officeart/2005/8/layout/chevron2"/>
    <dgm:cxn modelId="{F6FEF47D-3C41-48D5-901F-4B9FE28DE3C4}" type="presOf" srcId="{72E86071-AE45-4C9F-85CE-DA02235EC08F}" destId="{F063342B-C37C-4694-8403-96B2A88CD2A9}" srcOrd="0" destOrd="0" presId="urn:microsoft.com/office/officeart/2005/8/layout/chevron2"/>
    <dgm:cxn modelId="{4EAE2B7E-F41A-4A0E-8353-AD3BBDD1F226}" type="presOf" srcId="{8199F01E-9636-49EB-BC40-E33A1BFDAC80}" destId="{6ADD32F7-2E21-4861-8F9F-E76D10733F4C}" srcOrd="0" destOrd="4" presId="urn:microsoft.com/office/officeart/2005/8/layout/chevron2"/>
    <dgm:cxn modelId="{15258C80-99E0-44C5-BD17-8AA0ACEBD1F3}" srcId="{72E86071-AE45-4C9F-85CE-DA02235EC08F}" destId="{54AE952C-8419-461C-8F6D-F6F02F4FFF21}" srcOrd="7" destOrd="0" parTransId="{A163B9C5-4860-465A-9B1B-B6A1E84F957E}" sibTransId="{A8A9B178-5B8B-4873-AFA8-8CE3D9CAF78F}"/>
    <dgm:cxn modelId="{33DFED81-3797-46E9-98CC-87D0179E017C}" srcId="{72E86071-AE45-4C9F-85CE-DA02235EC08F}" destId="{F01DA7AB-CE81-4495-BBE9-92D6A9925AB8}" srcOrd="0" destOrd="0" parTransId="{7841313B-FB61-40B7-9B64-C1555A99E19F}" sibTransId="{99786CE4-A930-42A5-B649-50F2FAD4ED58}"/>
    <dgm:cxn modelId="{D18FA08C-68AF-4C5A-987D-6B5A1665BA2D}" srcId="{72E86071-AE45-4C9F-85CE-DA02235EC08F}" destId="{12FEDCD6-5899-45CB-90B5-B0CB0E59525B}" srcOrd="2" destOrd="0" parTransId="{F2489DA3-519F-42CA-B5AD-4E8CB8D23913}" sibTransId="{D20A1BC0-D08B-4A3A-B27E-7CE02B60B945}"/>
    <dgm:cxn modelId="{FC667994-3BEE-4F19-9CA6-2CA71A45B976}" type="presOf" srcId="{F01DA7AB-CE81-4495-BBE9-92D6A9925AB8}" destId="{6ADD32F7-2E21-4861-8F9F-E76D10733F4C}" srcOrd="0" destOrd="0" presId="urn:microsoft.com/office/officeart/2005/8/layout/chevron2"/>
    <dgm:cxn modelId="{28AEE5B5-94B0-4297-A880-746A7ACAC5C6}" type="presOf" srcId="{54AE952C-8419-461C-8F6D-F6F02F4FFF21}" destId="{6ADD32F7-2E21-4861-8F9F-E76D10733F4C}" srcOrd="0" destOrd="7" presId="urn:microsoft.com/office/officeart/2005/8/layout/chevron2"/>
    <dgm:cxn modelId="{44079FBC-A574-4718-B8B7-8E3048C550A5}" srcId="{57BE97F2-5F7E-4C52-B3D3-6714379166C3}" destId="{9B070F38-1B50-465A-8898-C361CACFDFB8}" srcOrd="5" destOrd="0" parTransId="{BAC87563-BBC8-4CB1-9087-358F4CF2ED1D}" sibTransId="{9D519E37-C72E-4B66-A6AD-6F91F9380CD3}"/>
    <dgm:cxn modelId="{E9F669BF-F21E-4EC7-AFAC-C6A88C451599}" srcId="{72E86071-AE45-4C9F-85CE-DA02235EC08F}" destId="{8199F01E-9636-49EB-BC40-E33A1BFDAC80}" srcOrd="4" destOrd="0" parTransId="{3DC8C17C-6204-4ADB-83D0-570892AF1BCB}" sibTransId="{041CAC26-FD8E-43BD-AE3D-76C219BB29A2}"/>
    <dgm:cxn modelId="{DF2E78C3-865A-408E-824C-273571BD0473}" type="presOf" srcId="{4CD54849-B0FC-43C8-B345-C7EC0314AED2}" destId="{9F362DF8-012B-4AFF-B79E-AE4017386FF9}" srcOrd="0" destOrd="3" presId="urn:microsoft.com/office/officeart/2005/8/layout/chevron2"/>
    <dgm:cxn modelId="{F365FCCC-61CF-4E1F-A24F-D43F3DCD535D}" srcId="{2BE22C16-6F0D-43AE-9BAC-EA3EBDC0CE5B}" destId="{A7E82159-12BA-4E49-8F93-0BA4403012D8}" srcOrd="2" destOrd="0" parTransId="{3A797990-92A6-4319-94FA-4A4116D4DF8A}" sibTransId="{F0C69285-4830-432D-9862-F0F83876E9EA}"/>
    <dgm:cxn modelId="{E94D7DCD-35CB-49C2-9D74-69151553D96C}" type="presOf" srcId="{A827E8BF-A0F1-49DD-AF7D-95F466338C74}" destId="{9F362DF8-012B-4AFF-B79E-AE4017386FF9}" srcOrd="0" destOrd="6" presId="urn:microsoft.com/office/officeart/2005/8/layout/chevron2"/>
    <dgm:cxn modelId="{3ECAE0D5-5F3B-4052-9EDB-2AFC037D7553}" srcId="{57BE97F2-5F7E-4C52-B3D3-6714379166C3}" destId="{3AF916D1-251B-48BE-9D96-E5179B7150D6}" srcOrd="4" destOrd="0" parTransId="{C462B8E8-4482-4780-923C-9D57404941D8}" sibTransId="{1FDF6320-BB58-4709-AE54-25467AD5BCDD}"/>
    <dgm:cxn modelId="{9F5810DA-6AE4-45EC-872C-5851EC32442D}" srcId="{E9483404-87BE-4819-82F8-83EA91816804}" destId="{57BE97F2-5F7E-4C52-B3D3-6714379166C3}" srcOrd="1" destOrd="0" parTransId="{663D691E-DFB3-48B2-A535-7B7D27CC6D42}" sibTransId="{16D6ABA6-177E-47B1-AF60-2609A39A0DE0}"/>
    <dgm:cxn modelId="{0BD714E1-ADCF-4C83-848E-8EAF78E35165}" srcId="{57BE97F2-5F7E-4C52-B3D3-6714379166C3}" destId="{4CD54849-B0FC-43C8-B345-C7EC0314AED2}" srcOrd="3" destOrd="0" parTransId="{B08D523D-8268-41A0-B37B-4481F11B9944}" sibTransId="{F0A5E7B0-3197-4DEF-B056-71293B953582}"/>
    <dgm:cxn modelId="{1F1A23EE-C212-4E7A-A2E0-4190188E69CF}" type="presOf" srcId="{A7E82159-12BA-4E49-8F93-0BA4403012D8}" destId="{C7F8EF93-B9F3-48EC-8EE5-A79F0EC80B89}" srcOrd="0" destOrd="2" presId="urn:microsoft.com/office/officeart/2005/8/layout/chevron2"/>
    <dgm:cxn modelId="{781C28F6-8FCB-4BA0-9932-654EB39A5411}" srcId="{72E86071-AE45-4C9F-85CE-DA02235EC08F}" destId="{DCC12E91-E4EE-410E-8BA8-11FC3B4D50FE}" srcOrd="6" destOrd="0" parTransId="{F233E3E5-5F74-4108-9A94-45C1CD26D857}" sibTransId="{C0A53F90-8392-45DD-8611-4FF0C316F9DE}"/>
    <dgm:cxn modelId="{959228F9-B3FE-42DF-B8BA-98030D86FAF5}" srcId="{E9483404-87BE-4819-82F8-83EA91816804}" destId="{2BE22C16-6F0D-43AE-9BAC-EA3EBDC0CE5B}" srcOrd="2" destOrd="0" parTransId="{048F30D5-A297-451F-BE41-D67B7FB1601C}" sibTransId="{3B8B98D5-9F65-4707-86EE-CF9D48FC735E}"/>
    <dgm:cxn modelId="{E817D6A9-1D94-41B4-9433-0BB93F03AFE4}" type="presParOf" srcId="{A71D2E7E-812C-400A-B5D7-A3CB460500B2}" destId="{07811564-9B6C-4B12-9B53-7BDFD903A729}" srcOrd="0" destOrd="0" presId="urn:microsoft.com/office/officeart/2005/8/layout/chevron2"/>
    <dgm:cxn modelId="{8CB6EEDA-DC84-4C3D-B853-2672B3E8B532}" type="presParOf" srcId="{07811564-9B6C-4B12-9B53-7BDFD903A729}" destId="{F063342B-C37C-4694-8403-96B2A88CD2A9}" srcOrd="0" destOrd="0" presId="urn:microsoft.com/office/officeart/2005/8/layout/chevron2"/>
    <dgm:cxn modelId="{A313D856-5847-49D0-8BAE-BDF444BF2DEB}" type="presParOf" srcId="{07811564-9B6C-4B12-9B53-7BDFD903A729}" destId="{6ADD32F7-2E21-4861-8F9F-E76D10733F4C}" srcOrd="1" destOrd="0" presId="urn:microsoft.com/office/officeart/2005/8/layout/chevron2"/>
    <dgm:cxn modelId="{5F4C54E5-E0BA-4ABC-AE9B-9E462893095A}" type="presParOf" srcId="{A71D2E7E-812C-400A-B5D7-A3CB460500B2}" destId="{1FB204BC-23EC-4064-95D4-AB2EB6D04302}" srcOrd="1" destOrd="0" presId="urn:microsoft.com/office/officeart/2005/8/layout/chevron2"/>
    <dgm:cxn modelId="{40AB9B1B-47A5-4590-92E6-CA55B04DC188}" type="presParOf" srcId="{A71D2E7E-812C-400A-B5D7-A3CB460500B2}" destId="{7A6E33C2-A80F-4619-8B16-762DFAA04A3C}" srcOrd="2" destOrd="0" presId="urn:microsoft.com/office/officeart/2005/8/layout/chevron2"/>
    <dgm:cxn modelId="{4ED7BC57-BD5C-4FD4-B209-94ADD31DDFAF}" type="presParOf" srcId="{7A6E33C2-A80F-4619-8B16-762DFAA04A3C}" destId="{9AEF19E6-D631-41BC-A3BD-4C7734F70E07}" srcOrd="0" destOrd="0" presId="urn:microsoft.com/office/officeart/2005/8/layout/chevron2"/>
    <dgm:cxn modelId="{BA750F37-33D7-4937-B015-BC416DB629C6}" type="presParOf" srcId="{7A6E33C2-A80F-4619-8B16-762DFAA04A3C}" destId="{9F362DF8-012B-4AFF-B79E-AE4017386FF9}" srcOrd="1" destOrd="0" presId="urn:microsoft.com/office/officeart/2005/8/layout/chevron2"/>
    <dgm:cxn modelId="{5DCC4E8D-828B-4ACC-870F-5A953ABE79FD}" type="presParOf" srcId="{A71D2E7E-812C-400A-B5D7-A3CB460500B2}" destId="{A5902B53-D6AF-4A34-A83E-D8A112A45F39}" srcOrd="3" destOrd="0" presId="urn:microsoft.com/office/officeart/2005/8/layout/chevron2"/>
    <dgm:cxn modelId="{820597AF-C5B7-4A8D-A55B-E015CF7BB1F6}" type="presParOf" srcId="{A71D2E7E-812C-400A-B5D7-A3CB460500B2}" destId="{B1902337-284B-42A7-82F6-282737BEEFC1}" srcOrd="4" destOrd="0" presId="urn:microsoft.com/office/officeart/2005/8/layout/chevron2"/>
    <dgm:cxn modelId="{DF3776BE-1A6E-4EAE-9149-0B21CFA124B5}" type="presParOf" srcId="{B1902337-284B-42A7-82F6-282737BEEFC1}" destId="{EF3B218F-0B98-4950-9FCD-0A30BDE22F34}" srcOrd="0" destOrd="0" presId="urn:microsoft.com/office/officeart/2005/8/layout/chevron2"/>
    <dgm:cxn modelId="{F9CDE0E8-A061-4D66-BC21-E24258AC394A}" type="presParOf" srcId="{B1902337-284B-42A7-82F6-282737BEEFC1}" destId="{C7F8EF93-B9F3-48EC-8EE5-A79F0EC80B89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F010CF21-4A6D-44EF-A02C-3D5169816247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#1" csCatId="colorful" phldr="1"/>
      <dgm:spPr/>
      <dgm:t>
        <a:bodyPr/>
        <a:lstStyle/>
        <a:p>
          <a:endParaRPr lang="fr-FR"/>
        </a:p>
      </dgm:t>
    </dgm:pt>
    <dgm:pt modelId="{59788018-3182-43A3-8988-94BE0745A02A}">
      <dgm:prSet phldrT="[Texte]" custT="1"/>
      <dgm:spPr/>
      <dgm:t>
        <a:bodyPr/>
        <a:lstStyle/>
        <a:p>
          <a:r>
            <a:rPr lang="fr-FR" sz="2000" dirty="0"/>
            <a:t>Rapport moral du Président : bilan et projet 2021-2024</a:t>
          </a:r>
        </a:p>
      </dgm:t>
    </dgm:pt>
    <dgm:pt modelId="{0F449731-D9A8-453B-9CCE-25DFB8DF4287}" type="parTrans" cxnId="{127426EF-8ACA-4C2A-9DCA-089579810FA4}">
      <dgm:prSet/>
      <dgm:spPr/>
      <dgm:t>
        <a:bodyPr/>
        <a:lstStyle/>
        <a:p>
          <a:endParaRPr lang="fr-FR" sz="1400"/>
        </a:p>
      </dgm:t>
    </dgm:pt>
    <dgm:pt modelId="{F562CD0B-E8EB-4DBC-82FD-4F9ECF32E366}" type="sibTrans" cxnId="{127426EF-8ACA-4C2A-9DCA-089579810FA4}">
      <dgm:prSet/>
      <dgm:spPr/>
      <dgm:t>
        <a:bodyPr/>
        <a:lstStyle/>
        <a:p>
          <a:endParaRPr lang="fr-FR" sz="1400"/>
        </a:p>
      </dgm:t>
    </dgm:pt>
    <dgm:pt modelId="{B9A48CF8-D428-45D1-8969-FBBF15BE7DBA}">
      <dgm:prSet custT="1"/>
      <dgm:spPr/>
      <dgm:t>
        <a:bodyPr/>
        <a:lstStyle/>
        <a:p>
          <a:r>
            <a:rPr lang="fr-FR" sz="2000" dirty="0"/>
            <a:t>Rapport financier de l’année 2020-2021</a:t>
          </a:r>
        </a:p>
      </dgm:t>
    </dgm:pt>
    <dgm:pt modelId="{A0CD69F9-CCD9-494F-8BAA-E371C16384F0}" type="parTrans" cxnId="{526ECF28-3CAD-4D93-A271-BA130FC38A40}">
      <dgm:prSet/>
      <dgm:spPr/>
      <dgm:t>
        <a:bodyPr/>
        <a:lstStyle/>
        <a:p>
          <a:endParaRPr lang="fr-FR"/>
        </a:p>
      </dgm:t>
    </dgm:pt>
    <dgm:pt modelId="{51D165D4-3F2F-4577-B999-E3D44DF8CE25}" type="sibTrans" cxnId="{526ECF28-3CAD-4D93-A271-BA130FC38A40}">
      <dgm:prSet/>
      <dgm:spPr/>
      <dgm:t>
        <a:bodyPr/>
        <a:lstStyle/>
        <a:p>
          <a:endParaRPr lang="fr-FR"/>
        </a:p>
      </dgm:t>
    </dgm:pt>
    <dgm:pt modelId="{2950704D-F612-46DF-93DB-38562274CE0A}">
      <dgm:prSet custT="1"/>
      <dgm:spPr/>
      <dgm:t>
        <a:bodyPr/>
        <a:lstStyle/>
        <a:p>
          <a:r>
            <a:rPr lang="fr-FR" sz="2000" dirty="0"/>
            <a:t>Élections au Conseil d’Administration </a:t>
          </a:r>
        </a:p>
      </dgm:t>
    </dgm:pt>
    <dgm:pt modelId="{987F1677-1426-4E16-870E-56D0BC663F9B}" type="parTrans" cxnId="{75BC15D3-E58B-4B5A-AEB7-3CE02EFD8705}">
      <dgm:prSet/>
      <dgm:spPr/>
      <dgm:t>
        <a:bodyPr/>
        <a:lstStyle/>
        <a:p>
          <a:endParaRPr lang="fr-FR"/>
        </a:p>
      </dgm:t>
    </dgm:pt>
    <dgm:pt modelId="{83820126-CD9B-4B36-913F-47587C72FAFD}" type="sibTrans" cxnId="{75BC15D3-E58B-4B5A-AEB7-3CE02EFD8705}">
      <dgm:prSet/>
      <dgm:spPr/>
      <dgm:t>
        <a:bodyPr/>
        <a:lstStyle/>
        <a:p>
          <a:endParaRPr lang="fr-FR"/>
        </a:p>
      </dgm:t>
    </dgm:pt>
    <dgm:pt modelId="{445F633E-575C-4AF5-92DD-A71CC7C927A2}">
      <dgm:prSet custT="1"/>
      <dgm:spPr/>
      <dgm:t>
        <a:bodyPr/>
        <a:lstStyle/>
        <a:p>
          <a:r>
            <a:rPr lang="fr-FR" sz="2000" dirty="0"/>
            <a:t>Budget de l’année 2021-2022</a:t>
          </a:r>
        </a:p>
      </dgm:t>
    </dgm:pt>
    <dgm:pt modelId="{78170A6E-C864-4525-99F0-764BDD069F7D}" type="parTrans" cxnId="{10C8B034-59B8-4A7B-BB37-6397972DA53F}">
      <dgm:prSet/>
      <dgm:spPr/>
      <dgm:t>
        <a:bodyPr/>
        <a:lstStyle/>
        <a:p>
          <a:endParaRPr lang="fr-FR"/>
        </a:p>
      </dgm:t>
    </dgm:pt>
    <dgm:pt modelId="{6DCA3502-1D36-4058-961B-A2DA94F7B6BD}" type="sibTrans" cxnId="{10C8B034-59B8-4A7B-BB37-6397972DA53F}">
      <dgm:prSet/>
      <dgm:spPr/>
      <dgm:t>
        <a:bodyPr/>
        <a:lstStyle/>
        <a:p>
          <a:endParaRPr lang="fr-FR"/>
        </a:p>
      </dgm:t>
    </dgm:pt>
    <dgm:pt modelId="{414797EB-74B4-4291-AF3E-06BCA64CF6B6}">
      <dgm:prSet custT="1"/>
      <dgm:spPr/>
      <dgm:t>
        <a:bodyPr/>
        <a:lstStyle/>
        <a:p>
          <a:r>
            <a:rPr lang="fr-FR" sz="2000" dirty="0"/>
            <a:t>Questions diverses</a:t>
          </a:r>
        </a:p>
      </dgm:t>
    </dgm:pt>
    <dgm:pt modelId="{D9EEC982-6F8E-415B-9E6B-101927331BD8}" type="parTrans" cxnId="{0281512C-E79C-4333-9D56-2A66E949228F}">
      <dgm:prSet/>
      <dgm:spPr/>
      <dgm:t>
        <a:bodyPr/>
        <a:lstStyle/>
        <a:p>
          <a:endParaRPr lang="fr-FR"/>
        </a:p>
      </dgm:t>
    </dgm:pt>
    <dgm:pt modelId="{3124CA87-5240-449D-93B8-646AA320F84C}" type="sibTrans" cxnId="{0281512C-E79C-4333-9D56-2A66E949228F}">
      <dgm:prSet/>
      <dgm:spPr/>
      <dgm:t>
        <a:bodyPr/>
        <a:lstStyle/>
        <a:p>
          <a:endParaRPr lang="fr-FR"/>
        </a:p>
      </dgm:t>
    </dgm:pt>
    <dgm:pt modelId="{08449366-2565-4365-85A6-6FD21C00BC0F}" type="pres">
      <dgm:prSet presAssocID="{F010CF21-4A6D-44EF-A02C-3D5169816247}" presName="Name0" presStyleCnt="0">
        <dgm:presLayoutVars>
          <dgm:chMax val="7"/>
          <dgm:chPref val="7"/>
          <dgm:dir/>
        </dgm:presLayoutVars>
      </dgm:prSet>
      <dgm:spPr/>
    </dgm:pt>
    <dgm:pt modelId="{43AFC4E7-46DA-4B7B-B201-0A406A05CAD2}" type="pres">
      <dgm:prSet presAssocID="{F010CF21-4A6D-44EF-A02C-3D5169816247}" presName="Name1" presStyleCnt="0"/>
      <dgm:spPr/>
    </dgm:pt>
    <dgm:pt modelId="{C89A3969-C068-41DF-977E-ED5F7B6D0CE6}" type="pres">
      <dgm:prSet presAssocID="{F010CF21-4A6D-44EF-A02C-3D5169816247}" presName="cycle" presStyleCnt="0"/>
      <dgm:spPr/>
    </dgm:pt>
    <dgm:pt modelId="{36B09AF6-20B6-459B-86E4-BA1ECCD29B61}" type="pres">
      <dgm:prSet presAssocID="{F010CF21-4A6D-44EF-A02C-3D5169816247}" presName="srcNode" presStyleLbl="node1" presStyleIdx="0" presStyleCnt="5"/>
      <dgm:spPr/>
    </dgm:pt>
    <dgm:pt modelId="{6940BDDF-1FEF-41BF-B9E9-0FFE3926A970}" type="pres">
      <dgm:prSet presAssocID="{F010CF21-4A6D-44EF-A02C-3D5169816247}" presName="conn" presStyleLbl="parChTrans1D2" presStyleIdx="0" presStyleCnt="1"/>
      <dgm:spPr/>
    </dgm:pt>
    <dgm:pt modelId="{CF948C64-B606-46D3-AF0E-5C95CC7F1D42}" type="pres">
      <dgm:prSet presAssocID="{F010CF21-4A6D-44EF-A02C-3D5169816247}" presName="extraNode" presStyleLbl="node1" presStyleIdx="0" presStyleCnt="5"/>
      <dgm:spPr/>
    </dgm:pt>
    <dgm:pt modelId="{4485BF69-EF87-4AEE-AFDF-DE2F8D2ACCD9}" type="pres">
      <dgm:prSet presAssocID="{F010CF21-4A6D-44EF-A02C-3D5169816247}" presName="dstNode" presStyleLbl="node1" presStyleIdx="0" presStyleCnt="5"/>
      <dgm:spPr/>
    </dgm:pt>
    <dgm:pt modelId="{54C74578-773C-4297-A4DE-1398F67BB91C}" type="pres">
      <dgm:prSet presAssocID="{59788018-3182-43A3-8988-94BE0745A02A}" presName="text_1" presStyleLbl="node1" presStyleIdx="0" presStyleCnt="5" custLinFactNeighborY="4204">
        <dgm:presLayoutVars>
          <dgm:bulletEnabled val="1"/>
        </dgm:presLayoutVars>
      </dgm:prSet>
      <dgm:spPr/>
    </dgm:pt>
    <dgm:pt modelId="{10D97C5B-BA88-4603-BEB8-816B9E26E1E0}" type="pres">
      <dgm:prSet presAssocID="{59788018-3182-43A3-8988-94BE0745A02A}" presName="accent_1" presStyleCnt="0"/>
      <dgm:spPr/>
    </dgm:pt>
    <dgm:pt modelId="{EBBCF617-4DDB-47D0-98C7-99413FA904B7}" type="pres">
      <dgm:prSet presAssocID="{59788018-3182-43A3-8988-94BE0745A02A}" presName="accentRepeatNode" presStyleLbl="solidFgAcc1" presStyleIdx="0" presStyleCnt="5"/>
      <dgm:spPr/>
    </dgm:pt>
    <dgm:pt modelId="{38266B62-763B-47EE-941B-BD512A93B9FC}" type="pres">
      <dgm:prSet presAssocID="{B9A48CF8-D428-45D1-8969-FBBF15BE7DBA}" presName="text_2" presStyleLbl="node1" presStyleIdx="1" presStyleCnt="5">
        <dgm:presLayoutVars>
          <dgm:bulletEnabled val="1"/>
        </dgm:presLayoutVars>
      </dgm:prSet>
      <dgm:spPr/>
    </dgm:pt>
    <dgm:pt modelId="{367B11EA-E5C1-4DED-8822-EE706D7B3490}" type="pres">
      <dgm:prSet presAssocID="{B9A48CF8-D428-45D1-8969-FBBF15BE7DBA}" presName="accent_2" presStyleCnt="0"/>
      <dgm:spPr/>
    </dgm:pt>
    <dgm:pt modelId="{7A113706-4115-4E46-A0DB-BB2E4C947383}" type="pres">
      <dgm:prSet presAssocID="{B9A48CF8-D428-45D1-8969-FBBF15BE7DBA}" presName="accentRepeatNode" presStyleLbl="solidFgAcc1" presStyleIdx="1" presStyleCnt="5"/>
      <dgm:spPr/>
    </dgm:pt>
    <dgm:pt modelId="{C44906E9-3C2F-4CD0-B0C9-498EF34769BF}" type="pres">
      <dgm:prSet presAssocID="{2950704D-F612-46DF-93DB-38562274CE0A}" presName="text_3" presStyleLbl="node1" presStyleIdx="2" presStyleCnt="5">
        <dgm:presLayoutVars>
          <dgm:bulletEnabled val="1"/>
        </dgm:presLayoutVars>
      </dgm:prSet>
      <dgm:spPr/>
    </dgm:pt>
    <dgm:pt modelId="{99431DD1-4D5B-4288-A4D7-5DDCAA9317FA}" type="pres">
      <dgm:prSet presAssocID="{2950704D-F612-46DF-93DB-38562274CE0A}" presName="accent_3" presStyleCnt="0"/>
      <dgm:spPr/>
    </dgm:pt>
    <dgm:pt modelId="{0692BF8D-B063-4580-8A2D-225A14481CCD}" type="pres">
      <dgm:prSet presAssocID="{2950704D-F612-46DF-93DB-38562274CE0A}" presName="accentRepeatNode" presStyleLbl="solidFgAcc1" presStyleIdx="2" presStyleCnt="5"/>
      <dgm:spPr/>
    </dgm:pt>
    <dgm:pt modelId="{985C842E-3771-4A21-BC8F-6664E8E4209A}" type="pres">
      <dgm:prSet presAssocID="{445F633E-575C-4AF5-92DD-A71CC7C927A2}" presName="text_4" presStyleLbl="node1" presStyleIdx="3" presStyleCnt="5">
        <dgm:presLayoutVars>
          <dgm:bulletEnabled val="1"/>
        </dgm:presLayoutVars>
      </dgm:prSet>
      <dgm:spPr/>
    </dgm:pt>
    <dgm:pt modelId="{9DF189B9-2AF4-4537-8488-D9604CD8D7C6}" type="pres">
      <dgm:prSet presAssocID="{445F633E-575C-4AF5-92DD-A71CC7C927A2}" presName="accent_4" presStyleCnt="0"/>
      <dgm:spPr/>
    </dgm:pt>
    <dgm:pt modelId="{1CAC461D-769E-43F1-85D8-A86E37EE9368}" type="pres">
      <dgm:prSet presAssocID="{445F633E-575C-4AF5-92DD-A71CC7C927A2}" presName="accentRepeatNode" presStyleLbl="solidFgAcc1" presStyleIdx="3" presStyleCnt="5"/>
      <dgm:spPr/>
    </dgm:pt>
    <dgm:pt modelId="{E94408CD-EF85-4774-BA53-A3DB7D3C1F4C}" type="pres">
      <dgm:prSet presAssocID="{414797EB-74B4-4291-AF3E-06BCA64CF6B6}" presName="text_5" presStyleLbl="node1" presStyleIdx="4" presStyleCnt="5">
        <dgm:presLayoutVars>
          <dgm:bulletEnabled val="1"/>
        </dgm:presLayoutVars>
      </dgm:prSet>
      <dgm:spPr/>
    </dgm:pt>
    <dgm:pt modelId="{084B543F-777C-44B7-8089-181F52D7D6B4}" type="pres">
      <dgm:prSet presAssocID="{414797EB-74B4-4291-AF3E-06BCA64CF6B6}" presName="accent_5" presStyleCnt="0"/>
      <dgm:spPr/>
    </dgm:pt>
    <dgm:pt modelId="{5AF5E7EE-A04D-40FC-8300-CF20EEE80831}" type="pres">
      <dgm:prSet presAssocID="{414797EB-74B4-4291-AF3E-06BCA64CF6B6}" presName="accentRepeatNode" presStyleLbl="solidFgAcc1" presStyleIdx="4" presStyleCnt="5"/>
      <dgm:spPr/>
    </dgm:pt>
  </dgm:ptLst>
  <dgm:cxnLst>
    <dgm:cxn modelId="{241DD71D-5288-427D-8977-3C2125195ABF}" type="presOf" srcId="{2950704D-F612-46DF-93DB-38562274CE0A}" destId="{C44906E9-3C2F-4CD0-B0C9-498EF34769BF}" srcOrd="0" destOrd="0" presId="urn:microsoft.com/office/officeart/2008/layout/VerticalCurvedList"/>
    <dgm:cxn modelId="{526ECF28-3CAD-4D93-A271-BA130FC38A40}" srcId="{F010CF21-4A6D-44EF-A02C-3D5169816247}" destId="{B9A48CF8-D428-45D1-8969-FBBF15BE7DBA}" srcOrd="1" destOrd="0" parTransId="{A0CD69F9-CCD9-494F-8BAA-E371C16384F0}" sibTransId="{51D165D4-3F2F-4577-B999-E3D44DF8CE25}"/>
    <dgm:cxn modelId="{0281512C-E79C-4333-9D56-2A66E949228F}" srcId="{F010CF21-4A6D-44EF-A02C-3D5169816247}" destId="{414797EB-74B4-4291-AF3E-06BCA64CF6B6}" srcOrd="4" destOrd="0" parTransId="{D9EEC982-6F8E-415B-9E6B-101927331BD8}" sibTransId="{3124CA87-5240-449D-93B8-646AA320F84C}"/>
    <dgm:cxn modelId="{10C8B034-59B8-4A7B-BB37-6397972DA53F}" srcId="{F010CF21-4A6D-44EF-A02C-3D5169816247}" destId="{445F633E-575C-4AF5-92DD-A71CC7C927A2}" srcOrd="3" destOrd="0" parTransId="{78170A6E-C864-4525-99F0-764BDD069F7D}" sibTransId="{6DCA3502-1D36-4058-961B-A2DA94F7B6BD}"/>
    <dgm:cxn modelId="{6E4F5F35-0D7E-4E4D-AA5C-4E66D655145A}" type="presOf" srcId="{59788018-3182-43A3-8988-94BE0745A02A}" destId="{54C74578-773C-4297-A4DE-1398F67BB91C}" srcOrd="0" destOrd="0" presId="urn:microsoft.com/office/officeart/2008/layout/VerticalCurvedList"/>
    <dgm:cxn modelId="{D6801738-0EB3-407B-AD75-D97DFCA32239}" type="presOf" srcId="{445F633E-575C-4AF5-92DD-A71CC7C927A2}" destId="{985C842E-3771-4A21-BC8F-6664E8E4209A}" srcOrd="0" destOrd="0" presId="urn:microsoft.com/office/officeart/2008/layout/VerticalCurvedList"/>
    <dgm:cxn modelId="{2E88A469-91F1-4756-A449-0C6B21CED5FB}" type="presOf" srcId="{414797EB-74B4-4291-AF3E-06BCA64CF6B6}" destId="{E94408CD-EF85-4774-BA53-A3DB7D3C1F4C}" srcOrd="0" destOrd="0" presId="urn:microsoft.com/office/officeart/2008/layout/VerticalCurvedList"/>
    <dgm:cxn modelId="{47274B98-A3F8-B44A-8BC9-F42C0F4148D8}" type="presOf" srcId="{F010CF21-4A6D-44EF-A02C-3D5169816247}" destId="{08449366-2565-4365-85A6-6FD21C00BC0F}" srcOrd="0" destOrd="0" presId="urn:microsoft.com/office/officeart/2008/layout/VerticalCurvedList"/>
    <dgm:cxn modelId="{2BBCFF9A-EEFC-44B4-BC2D-134082FEEEF5}" type="presOf" srcId="{B9A48CF8-D428-45D1-8969-FBBF15BE7DBA}" destId="{38266B62-763B-47EE-941B-BD512A93B9FC}" srcOrd="0" destOrd="0" presId="urn:microsoft.com/office/officeart/2008/layout/VerticalCurvedList"/>
    <dgm:cxn modelId="{75BC15D3-E58B-4B5A-AEB7-3CE02EFD8705}" srcId="{F010CF21-4A6D-44EF-A02C-3D5169816247}" destId="{2950704D-F612-46DF-93DB-38562274CE0A}" srcOrd="2" destOrd="0" parTransId="{987F1677-1426-4E16-870E-56D0BC663F9B}" sibTransId="{83820126-CD9B-4B36-913F-47587C72FAFD}"/>
    <dgm:cxn modelId="{127426EF-8ACA-4C2A-9DCA-089579810FA4}" srcId="{F010CF21-4A6D-44EF-A02C-3D5169816247}" destId="{59788018-3182-43A3-8988-94BE0745A02A}" srcOrd="0" destOrd="0" parTransId="{0F449731-D9A8-453B-9CCE-25DFB8DF4287}" sibTransId="{F562CD0B-E8EB-4DBC-82FD-4F9ECF32E366}"/>
    <dgm:cxn modelId="{4BA219F5-DF5C-4A5A-8AD1-3305123A52BE}" type="presOf" srcId="{F562CD0B-E8EB-4DBC-82FD-4F9ECF32E366}" destId="{6940BDDF-1FEF-41BF-B9E9-0FFE3926A970}" srcOrd="0" destOrd="0" presId="urn:microsoft.com/office/officeart/2008/layout/VerticalCurvedList"/>
    <dgm:cxn modelId="{F061383E-55BE-644A-A054-B1BF76BC8A37}" type="presParOf" srcId="{08449366-2565-4365-85A6-6FD21C00BC0F}" destId="{43AFC4E7-46DA-4B7B-B201-0A406A05CAD2}" srcOrd="0" destOrd="0" presId="urn:microsoft.com/office/officeart/2008/layout/VerticalCurvedList"/>
    <dgm:cxn modelId="{6FF298EC-3580-F74F-90AB-72DC7E516CCF}" type="presParOf" srcId="{43AFC4E7-46DA-4B7B-B201-0A406A05CAD2}" destId="{C89A3969-C068-41DF-977E-ED5F7B6D0CE6}" srcOrd="0" destOrd="0" presId="urn:microsoft.com/office/officeart/2008/layout/VerticalCurvedList"/>
    <dgm:cxn modelId="{6729A3F8-BF06-514A-A444-B514AEEB00A8}" type="presParOf" srcId="{C89A3969-C068-41DF-977E-ED5F7B6D0CE6}" destId="{36B09AF6-20B6-459B-86E4-BA1ECCD29B61}" srcOrd="0" destOrd="0" presId="urn:microsoft.com/office/officeart/2008/layout/VerticalCurvedList"/>
    <dgm:cxn modelId="{6C2E9B69-AF8F-0148-8C74-F9F8288240F7}" type="presParOf" srcId="{C89A3969-C068-41DF-977E-ED5F7B6D0CE6}" destId="{6940BDDF-1FEF-41BF-B9E9-0FFE3926A970}" srcOrd="1" destOrd="0" presId="urn:microsoft.com/office/officeart/2008/layout/VerticalCurvedList"/>
    <dgm:cxn modelId="{D58DB0B2-11A2-5844-A5D6-88E4BC01A3D0}" type="presParOf" srcId="{C89A3969-C068-41DF-977E-ED5F7B6D0CE6}" destId="{CF948C64-B606-46D3-AF0E-5C95CC7F1D42}" srcOrd="2" destOrd="0" presId="urn:microsoft.com/office/officeart/2008/layout/VerticalCurvedList"/>
    <dgm:cxn modelId="{10696313-D083-2948-A140-15A5E3037090}" type="presParOf" srcId="{C89A3969-C068-41DF-977E-ED5F7B6D0CE6}" destId="{4485BF69-EF87-4AEE-AFDF-DE2F8D2ACCD9}" srcOrd="3" destOrd="0" presId="urn:microsoft.com/office/officeart/2008/layout/VerticalCurvedList"/>
    <dgm:cxn modelId="{3EED48A1-A558-C845-AADB-967072A92846}" type="presParOf" srcId="{43AFC4E7-46DA-4B7B-B201-0A406A05CAD2}" destId="{54C74578-773C-4297-A4DE-1398F67BB91C}" srcOrd="1" destOrd="0" presId="urn:microsoft.com/office/officeart/2008/layout/VerticalCurvedList"/>
    <dgm:cxn modelId="{482CF146-0D09-4849-B4E1-DC9831F36C1D}" type="presParOf" srcId="{43AFC4E7-46DA-4B7B-B201-0A406A05CAD2}" destId="{10D97C5B-BA88-4603-BEB8-816B9E26E1E0}" srcOrd="2" destOrd="0" presId="urn:microsoft.com/office/officeart/2008/layout/VerticalCurvedList"/>
    <dgm:cxn modelId="{76B9516D-0F20-FC4F-9CC0-824395ED95BC}" type="presParOf" srcId="{10D97C5B-BA88-4603-BEB8-816B9E26E1E0}" destId="{EBBCF617-4DDB-47D0-98C7-99413FA904B7}" srcOrd="0" destOrd="0" presId="urn:microsoft.com/office/officeart/2008/layout/VerticalCurvedList"/>
    <dgm:cxn modelId="{4EBF105E-81B6-4CB9-A83D-BADB4A1F3F6B}" type="presParOf" srcId="{43AFC4E7-46DA-4B7B-B201-0A406A05CAD2}" destId="{38266B62-763B-47EE-941B-BD512A93B9FC}" srcOrd="3" destOrd="0" presId="urn:microsoft.com/office/officeart/2008/layout/VerticalCurvedList"/>
    <dgm:cxn modelId="{ED363BF9-440F-435E-962C-A9C35F49A344}" type="presParOf" srcId="{43AFC4E7-46DA-4B7B-B201-0A406A05CAD2}" destId="{367B11EA-E5C1-4DED-8822-EE706D7B3490}" srcOrd="4" destOrd="0" presId="urn:microsoft.com/office/officeart/2008/layout/VerticalCurvedList"/>
    <dgm:cxn modelId="{3B005B22-F7CF-4BF5-9BB2-3FDAE20603B7}" type="presParOf" srcId="{367B11EA-E5C1-4DED-8822-EE706D7B3490}" destId="{7A113706-4115-4E46-A0DB-BB2E4C947383}" srcOrd="0" destOrd="0" presId="urn:microsoft.com/office/officeart/2008/layout/VerticalCurvedList"/>
    <dgm:cxn modelId="{B386FED0-5C5D-4D92-B6E3-ACD3BEC12D80}" type="presParOf" srcId="{43AFC4E7-46DA-4B7B-B201-0A406A05CAD2}" destId="{C44906E9-3C2F-4CD0-B0C9-498EF34769BF}" srcOrd="5" destOrd="0" presId="urn:microsoft.com/office/officeart/2008/layout/VerticalCurvedList"/>
    <dgm:cxn modelId="{DFEAE827-D2D2-42C0-98C4-B000CAB27FA2}" type="presParOf" srcId="{43AFC4E7-46DA-4B7B-B201-0A406A05CAD2}" destId="{99431DD1-4D5B-4288-A4D7-5DDCAA9317FA}" srcOrd="6" destOrd="0" presId="urn:microsoft.com/office/officeart/2008/layout/VerticalCurvedList"/>
    <dgm:cxn modelId="{06B8C854-316E-4EB4-BB52-E05E356F9592}" type="presParOf" srcId="{99431DD1-4D5B-4288-A4D7-5DDCAA9317FA}" destId="{0692BF8D-B063-4580-8A2D-225A14481CCD}" srcOrd="0" destOrd="0" presId="urn:microsoft.com/office/officeart/2008/layout/VerticalCurvedList"/>
    <dgm:cxn modelId="{881BBE41-FEDF-45D1-AD76-115D6A351C41}" type="presParOf" srcId="{43AFC4E7-46DA-4B7B-B201-0A406A05CAD2}" destId="{985C842E-3771-4A21-BC8F-6664E8E4209A}" srcOrd="7" destOrd="0" presId="urn:microsoft.com/office/officeart/2008/layout/VerticalCurvedList"/>
    <dgm:cxn modelId="{E9181451-AE84-4879-8081-53EEDAD249C1}" type="presParOf" srcId="{43AFC4E7-46DA-4B7B-B201-0A406A05CAD2}" destId="{9DF189B9-2AF4-4537-8488-D9604CD8D7C6}" srcOrd="8" destOrd="0" presId="urn:microsoft.com/office/officeart/2008/layout/VerticalCurvedList"/>
    <dgm:cxn modelId="{675284D5-7F6B-4E16-9B16-3416C5C07E60}" type="presParOf" srcId="{9DF189B9-2AF4-4537-8488-D9604CD8D7C6}" destId="{1CAC461D-769E-43F1-85D8-A86E37EE9368}" srcOrd="0" destOrd="0" presId="urn:microsoft.com/office/officeart/2008/layout/VerticalCurvedList"/>
    <dgm:cxn modelId="{0916922B-2E54-4986-9739-4D5C363FCDE6}" type="presParOf" srcId="{43AFC4E7-46DA-4B7B-B201-0A406A05CAD2}" destId="{E94408CD-EF85-4774-BA53-A3DB7D3C1F4C}" srcOrd="9" destOrd="0" presId="urn:microsoft.com/office/officeart/2008/layout/VerticalCurvedList"/>
    <dgm:cxn modelId="{DCE6FD2A-03BB-4280-AC64-DC7A4D8AA307}" type="presParOf" srcId="{43AFC4E7-46DA-4B7B-B201-0A406A05CAD2}" destId="{084B543F-777C-44B7-8089-181F52D7D6B4}" srcOrd="10" destOrd="0" presId="urn:microsoft.com/office/officeart/2008/layout/VerticalCurvedList"/>
    <dgm:cxn modelId="{71EF4550-A211-4E4D-91C4-D49A790C2D7D}" type="presParOf" srcId="{084B543F-777C-44B7-8089-181F52D7D6B4}" destId="{5AF5E7EE-A04D-40FC-8300-CF20EEE80831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F010CF21-4A6D-44EF-A02C-3D5169816247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#1" csCatId="colorful" phldr="1"/>
      <dgm:spPr/>
      <dgm:t>
        <a:bodyPr/>
        <a:lstStyle/>
        <a:p>
          <a:endParaRPr lang="fr-FR"/>
        </a:p>
      </dgm:t>
    </dgm:pt>
    <dgm:pt modelId="{59788018-3182-43A3-8988-94BE0745A02A}">
      <dgm:prSet phldrT="[Texte]" custT="1"/>
      <dgm:spPr/>
      <dgm:t>
        <a:bodyPr/>
        <a:lstStyle/>
        <a:p>
          <a:r>
            <a:rPr lang="fr-FR" sz="2000" dirty="0"/>
            <a:t>Rapport moral du Président : bilan et projet 2021-2024</a:t>
          </a:r>
        </a:p>
      </dgm:t>
    </dgm:pt>
    <dgm:pt modelId="{0F449731-D9A8-453B-9CCE-25DFB8DF4287}" type="parTrans" cxnId="{127426EF-8ACA-4C2A-9DCA-089579810FA4}">
      <dgm:prSet/>
      <dgm:spPr/>
      <dgm:t>
        <a:bodyPr/>
        <a:lstStyle/>
        <a:p>
          <a:endParaRPr lang="fr-FR" sz="1400"/>
        </a:p>
      </dgm:t>
    </dgm:pt>
    <dgm:pt modelId="{F562CD0B-E8EB-4DBC-82FD-4F9ECF32E366}" type="sibTrans" cxnId="{127426EF-8ACA-4C2A-9DCA-089579810FA4}">
      <dgm:prSet/>
      <dgm:spPr/>
      <dgm:t>
        <a:bodyPr/>
        <a:lstStyle/>
        <a:p>
          <a:endParaRPr lang="fr-FR" sz="1400"/>
        </a:p>
      </dgm:t>
    </dgm:pt>
    <dgm:pt modelId="{B9A48CF8-D428-45D1-8969-FBBF15BE7DBA}">
      <dgm:prSet custT="1"/>
      <dgm:spPr/>
      <dgm:t>
        <a:bodyPr/>
        <a:lstStyle/>
        <a:p>
          <a:r>
            <a:rPr lang="fr-FR" sz="2000" dirty="0"/>
            <a:t>Rapport financier de l’année 2020-2021</a:t>
          </a:r>
        </a:p>
      </dgm:t>
    </dgm:pt>
    <dgm:pt modelId="{A0CD69F9-CCD9-494F-8BAA-E371C16384F0}" type="parTrans" cxnId="{526ECF28-3CAD-4D93-A271-BA130FC38A40}">
      <dgm:prSet/>
      <dgm:spPr/>
      <dgm:t>
        <a:bodyPr/>
        <a:lstStyle/>
        <a:p>
          <a:endParaRPr lang="fr-FR"/>
        </a:p>
      </dgm:t>
    </dgm:pt>
    <dgm:pt modelId="{51D165D4-3F2F-4577-B999-E3D44DF8CE25}" type="sibTrans" cxnId="{526ECF28-3CAD-4D93-A271-BA130FC38A40}">
      <dgm:prSet/>
      <dgm:spPr/>
      <dgm:t>
        <a:bodyPr/>
        <a:lstStyle/>
        <a:p>
          <a:endParaRPr lang="fr-FR"/>
        </a:p>
      </dgm:t>
    </dgm:pt>
    <dgm:pt modelId="{2950704D-F612-46DF-93DB-38562274CE0A}">
      <dgm:prSet custT="1"/>
      <dgm:spPr/>
      <dgm:t>
        <a:bodyPr/>
        <a:lstStyle/>
        <a:p>
          <a:r>
            <a:rPr lang="fr-FR" sz="2000" dirty="0"/>
            <a:t>Élections au Conseil d’Administration </a:t>
          </a:r>
        </a:p>
      </dgm:t>
    </dgm:pt>
    <dgm:pt modelId="{987F1677-1426-4E16-870E-56D0BC663F9B}" type="parTrans" cxnId="{75BC15D3-E58B-4B5A-AEB7-3CE02EFD8705}">
      <dgm:prSet/>
      <dgm:spPr/>
      <dgm:t>
        <a:bodyPr/>
        <a:lstStyle/>
        <a:p>
          <a:endParaRPr lang="fr-FR"/>
        </a:p>
      </dgm:t>
    </dgm:pt>
    <dgm:pt modelId="{83820126-CD9B-4B36-913F-47587C72FAFD}" type="sibTrans" cxnId="{75BC15D3-E58B-4B5A-AEB7-3CE02EFD8705}">
      <dgm:prSet/>
      <dgm:spPr/>
      <dgm:t>
        <a:bodyPr/>
        <a:lstStyle/>
        <a:p>
          <a:endParaRPr lang="fr-FR"/>
        </a:p>
      </dgm:t>
    </dgm:pt>
    <dgm:pt modelId="{445F633E-575C-4AF5-92DD-A71CC7C927A2}">
      <dgm:prSet custT="1"/>
      <dgm:spPr/>
      <dgm:t>
        <a:bodyPr/>
        <a:lstStyle/>
        <a:p>
          <a:r>
            <a:rPr lang="fr-FR" sz="2000" dirty="0"/>
            <a:t>Budget de l’année 2021-2022</a:t>
          </a:r>
        </a:p>
      </dgm:t>
    </dgm:pt>
    <dgm:pt modelId="{78170A6E-C864-4525-99F0-764BDD069F7D}" type="parTrans" cxnId="{10C8B034-59B8-4A7B-BB37-6397972DA53F}">
      <dgm:prSet/>
      <dgm:spPr/>
      <dgm:t>
        <a:bodyPr/>
        <a:lstStyle/>
        <a:p>
          <a:endParaRPr lang="fr-FR"/>
        </a:p>
      </dgm:t>
    </dgm:pt>
    <dgm:pt modelId="{6DCA3502-1D36-4058-961B-A2DA94F7B6BD}" type="sibTrans" cxnId="{10C8B034-59B8-4A7B-BB37-6397972DA53F}">
      <dgm:prSet/>
      <dgm:spPr/>
      <dgm:t>
        <a:bodyPr/>
        <a:lstStyle/>
        <a:p>
          <a:endParaRPr lang="fr-FR"/>
        </a:p>
      </dgm:t>
    </dgm:pt>
    <dgm:pt modelId="{414797EB-74B4-4291-AF3E-06BCA64CF6B6}">
      <dgm:prSet custT="1"/>
      <dgm:spPr/>
      <dgm:t>
        <a:bodyPr/>
        <a:lstStyle/>
        <a:p>
          <a:r>
            <a:rPr lang="fr-FR" sz="2000" dirty="0"/>
            <a:t>Questions diverses</a:t>
          </a:r>
        </a:p>
      </dgm:t>
    </dgm:pt>
    <dgm:pt modelId="{D9EEC982-6F8E-415B-9E6B-101927331BD8}" type="parTrans" cxnId="{0281512C-E79C-4333-9D56-2A66E949228F}">
      <dgm:prSet/>
      <dgm:spPr/>
      <dgm:t>
        <a:bodyPr/>
        <a:lstStyle/>
        <a:p>
          <a:endParaRPr lang="fr-FR"/>
        </a:p>
      </dgm:t>
    </dgm:pt>
    <dgm:pt modelId="{3124CA87-5240-449D-93B8-646AA320F84C}" type="sibTrans" cxnId="{0281512C-E79C-4333-9D56-2A66E949228F}">
      <dgm:prSet/>
      <dgm:spPr/>
      <dgm:t>
        <a:bodyPr/>
        <a:lstStyle/>
        <a:p>
          <a:endParaRPr lang="fr-FR"/>
        </a:p>
      </dgm:t>
    </dgm:pt>
    <dgm:pt modelId="{08449366-2565-4365-85A6-6FD21C00BC0F}" type="pres">
      <dgm:prSet presAssocID="{F010CF21-4A6D-44EF-A02C-3D5169816247}" presName="Name0" presStyleCnt="0">
        <dgm:presLayoutVars>
          <dgm:chMax val="7"/>
          <dgm:chPref val="7"/>
          <dgm:dir/>
        </dgm:presLayoutVars>
      </dgm:prSet>
      <dgm:spPr/>
    </dgm:pt>
    <dgm:pt modelId="{43AFC4E7-46DA-4B7B-B201-0A406A05CAD2}" type="pres">
      <dgm:prSet presAssocID="{F010CF21-4A6D-44EF-A02C-3D5169816247}" presName="Name1" presStyleCnt="0"/>
      <dgm:spPr/>
    </dgm:pt>
    <dgm:pt modelId="{C89A3969-C068-41DF-977E-ED5F7B6D0CE6}" type="pres">
      <dgm:prSet presAssocID="{F010CF21-4A6D-44EF-A02C-3D5169816247}" presName="cycle" presStyleCnt="0"/>
      <dgm:spPr/>
    </dgm:pt>
    <dgm:pt modelId="{36B09AF6-20B6-459B-86E4-BA1ECCD29B61}" type="pres">
      <dgm:prSet presAssocID="{F010CF21-4A6D-44EF-A02C-3D5169816247}" presName="srcNode" presStyleLbl="node1" presStyleIdx="0" presStyleCnt="5"/>
      <dgm:spPr/>
    </dgm:pt>
    <dgm:pt modelId="{6940BDDF-1FEF-41BF-B9E9-0FFE3926A970}" type="pres">
      <dgm:prSet presAssocID="{F010CF21-4A6D-44EF-A02C-3D5169816247}" presName="conn" presStyleLbl="parChTrans1D2" presStyleIdx="0" presStyleCnt="1"/>
      <dgm:spPr/>
    </dgm:pt>
    <dgm:pt modelId="{CF948C64-B606-46D3-AF0E-5C95CC7F1D42}" type="pres">
      <dgm:prSet presAssocID="{F010CF21-4A6D-44EF-A02C-3D5169816247}" presName="extraNode" presStyleLbl="node1" presStyleIdx="0" presStyleCnt="5"/>
      <dgm:spPr/>
    </dgm:pt>
    <dgm:pt modelId="{4485BF69-EF87-4AEE-AFDF-DE2F8D2ACCD9}" type="pres">
      <dgm:prSet presAssocID="{F010CF21-4A6D-44EF-A02C-3D5169816247}" presName="dstNode" presStyleLbl="node1" presStyleIdx="0" presStyleCnt="5"/>
      <dgm:spPr/>
    </dgm:pt>
    <dgm:pt modelId="{54C74578-773C-4297-A4DE-1398F67BB91C}" type="pres">
      <dgm:prSet presAssocID="{59788018-3182-43A3-8988-94BE0745A02A}" presName="text_1" presStyleLbl="node1" presStyleIdx="0" presStyleCnt="5" custLinFactNeighborY="4204">
        <dgm:presLayoutVars>
          <dgm:bulletEnabled val="1"/>
        </dgm:presLayoutVars>
      </dgm:prSet>
      <dgm:spPr/>
    </dgm:pt>
    <dgm:pt modelId="{10D97C5B-BA88-4603-BEB8-816B9E26E1E0}" type="pres">
      <dgm:prSet presAssocID="{59788018-3182-43A3-8988-94BE0745A02A}" presName="accent_1" presStyleCnt="0"/>
      <dgm:spPr/>
    </dgm:pt>
    <dgm:pt modelId="{EBBCF617-4DDB-47D0-98C7-99413FA904B7}" type="pres">
      <dgm:prSet presAssocID="{59788018-3182-43A3-8988-94BE0745A02A}" presName="accentRepeatNode" presStyleLbl="solidFgAcc1" presStyleIdx="0" presStyleCnt="5"/>
      <dgm:spPr/>
    </dgm:pt>
    <dgm:pt modelId="{38266B62-763B-47EE-941B-BD512A93B9FC}" type="pres">
      <dgm:prSet presAssocID="{B9A48CF8-D428-45D1-8969-FBBF15BE7DBA}" presName="text_2" presStyleLbl="node1" presStyleIdx="1" presStyleCnt="5">
        <dgm:presLayoutVars>
          <dgm:bulletEnabled val="1"/>
        </dgm:presLayoutVars>
      </dgm:prSet>
      <dgm:spPr/>
    </dgm:pt>
    <dgm:pt modelId="{367B11EA-E5C1-4DED-8822-EE706D7B3490}" type="pres">
      <dgm:prSet presAssocID="{B9A48CF8-D428-45D1-8969-FBBF15BE7DBA}" presName="accent_2" presStyleCnt="0"/>
      <dgm:spPr/>
    </dgm:pt>
    <dgm:pt modelId="{7A113706-4115-4E46-A0DB-BB2E4C947383}" type="pres">
      <dgm:prSet presAssocID="{B9A48CF8-D428-45D1-8969-FBBF15BE7DBA}" presName="accentRepeatNode" presStyleLbl="solidFgAcc1" presStyleIdx="1" presStyleCnt="5"/>
      <dgm:spPr/>
    </dgm:pt>
    <dgm:pt modelId="{C44906E9-3C2F-4CD0-B0C9-498EF34769BF}" type="pres">
      <dgm:prSet presAssocID="{2950704D-F612-46DF-93DB-38562274CE0A}" presName="text_3" presStyleLbl="node1" presStyleIdx="2" presStyleCnt="5">
        <dgm:presLayoutVars>
          <dgm:bulletEnabled val="1"/>
        </dgm:presLayoutVars>
      </dgm:prSet>
      <dgm:spPr/>
    </dgm:pt>
    <dgm:pt modelId="{99431DD1-4D5B-4288-A4D7-5DDCAA9317FA}" type="pres">
      <dgm:prSet presAssocID="{2950704D-F612-46DF-93DB-38562274CE0A}" presName="accent_3" presStyleCnt="0"/>
      <dgm:spPr/>
    </dgm:pt>
    <dgm:pt modelId="{0692BF8D-B063-4580-8A2D-225A14481CCD}" type="pres">
      <dgm:prSet presAssocID="{2950704D-F612-46DF-93DB-38562274CE0A}" presName="accentRepeatNode" presStyleLbl="solidFgAcc1" presStyleIdx="2" presStyleCnt="5"/>
      <dgm:spPr/>
    </dgm:pt>
    <dgm:pt modelId="{985C842E-3771-4A21-BC8F-6664E8E4209A}" type="pres">
      <dgm:prSet presAssocID="{445F633E-575C-4AF5-92DD-A71CC7C927A2}" presName="text_4" presStyleLbl="node1" presStyleIdx="3" presStyleCnt="5">
        <dgm:presLayoutVars>
          <dgm:bulletEnabled val="1"/>
        </dgm:presLayoutVars>
      </dgm:prSet>
      <dgm:spPr/>
    </dgm:pt>
    <dgm:pt modelId="{9DF189B9-2AF4-4537-8488-D9604CD8D7C6}" type="pres">
      <dgm:prSet presAssocID="{445F633E-575C-4AF5-92DD-A71CC7C927A2}" presName="accent_4" presStyleCnt="0"/>
      <dgm:spPr/>
    </dgm:pt>
    <dgm:pt modelId="{1CAC461D-769E-43F1-85D8-A86E37EE9368}" type="pres">
      <dgm:prSet presAssocID="{445F633E-575C-4AF5-92DD-A71CC7C927A2}" presName="accentRepeatNode" presStyleLbl="solidFgAcc1" presStyleIdx="3" presStyleCnt="5"/>
      <dgm:spPr/>
    </dgm:pt>
    <dgm:pt modelId="{E94408CD-EF85-4774-BA53-A3DB7D3C1F4C}" type="pres">
      <dgm:prSet presAssocID="{414797EB-74B4-4291-AF3E-06BCA64CF6B6}" presName="text_5" presStyleLbl="node1" presStyleIdx="4" presStyleCnt="5">
        <dgm:presLayoutVars>
          <dgm:bulletEnabled val="1"/>
        </dgm:presLayoutVars>
      </dgm:prSet>
      <dgm:spPr/>
    </dgm:pt>
    <dgm:pt modelId="{084B543F-777C-44B7-8089-181F52D7D6B4}" type="pres">
      <dgm:prSet presAssocID="{414797EB-74B4-4291-AF3E-06BCA64CF6B6}" presName="accent_5" presStyleCnt="0"/>
      <dgm:spPr/>
    </dgm:pt>
    <dgm:pt modelId="{5AF5E7EE-A04D-40FC-8300-CF20EEE80831}" type="pres">
      <dgm:prSet presAssocID="{414797EB-74B4-4291-AF3E-06BCA64CF6B6}" presName="accentRepeatNode" presStyleLbl="solidFgAcc1" presStyleIdx="4" presStyleCnt="5"/>
      <dgm:spPr/>
    </dgm:pt>
  </dgm:ptLst>
  <dgm:cxnLst>
    <dgm:cxn modelId="{241DD71D-5288-427D-8977-3C2125195ABF}" type="presOf" srcId="{2950704D-F612-46DF-93DB-38562274CE0A}" destId="{C44906E9-3C2F-4CD0-B0C9-498EF34769BF}" srcOrd="0" destOrd="0" presId="urn:microsoft.com/office/officeart/2008/layout/VerticalCurvedList"/>
    <dgm:cxn modelId="{526ECF28-3CAD-4D93-A271-BA130FC38A40}" srcId="{F010CF21-4A6D-44EF-A02C-3D5169816247}" destId="{B9A48CF8-D428-45D1-8969-FBBF15BE7DBA}" srcOrd="1" destOrd="0" parTransId="{A0CD69F9-CCD9-494F-8BAA-E371C16384F0}" sibTransId="{51D165D4-3F2F-4577-B999-E3D44DF8CE25}"/>
    <dgm:cxn modelId="{0281512C-E79C-4333-9D56-2A66E949228F}" srcId="{F010CF21-4A6D-44EF-A02C-3D5169816247}" destId="{414797EB-74B4-4291-AF3E-06BCA64CF6B6}" srcOrd="4" destOrd="0" parTransId="{D9EEC982-6F8E-415B-9E6B-101927331BD8}" sibTransId="{3124CA87-5240-449D-93B8-646AA320F84C}"/>
    <dgm:cxn modelId="{10C8B034-59B8-4A7B-BB37-6397972DA53F}" srcId="{F010CF21-4A6D-44EF-A02C-3D5169816247}" destId="{445F633E-575C-4AF5-92DD-A71CC7C927A2}" srcOrd="3" destOrd="0" parTransId="{78170A6E-C864-4525-99F0-764BDD069F7D}" sibTransId="{6DCA3502-1D36-4058-961B-A2DA94F7B6BD}"/>
    <dgm:cxn modelId="{6E4F5F35-0D7E-4E4D-AA5C-4E66D655145A}" type="presOf" srcId="{59788018-3182-43A3-8988-94BE0745A02A}" destId="{54C74578-773C-4297-A4DE-1398F67BB91C}" srcOrd="0" destOrd="0" presId="urn:microsoft.com/office/officeart/2008/layout/VerticalCurvedList"/>
    <dgm:cxn modelId="{D6801738-0EB3-407B-AD75-D97DFCA32239}" type="presOf" srcId="{445F633E-575C-4AF5-92DD-A71CC7C927A2}" destId="{985C842E-3771-4A21-BC8F-6664E8E4209A}" srcOrd="0" destOrd="0" presId="urn:microsoft.com/office/officeart/2008/layout/VerticalCurvedList"/>
    <dgm:cxn modelId="{2E88A469-91F1-4756-A449-0C6B21CED5FB}" type="presOf" srcId="{414797EB-74B4-4291-AF3E-06BCA64CF6B6}" destId="{E94408CD-EF85-4774-BA53-A3DB7D3C1F4C}" srcOrd="0" destOrd="0" presId="urn:microsoft.com/office/officeart/2008/layout/VerticalCurvedList"/>
    <dgm:cxn modelId="{47274B98-A3F8-B44A-8BC9-F42C0F4148D8}" type="presOf" srcId="{F010CF21-4A6D-44EF-A02C-3D5169816247}" destId="{08449366-2565-4365-85A6-6FD21C00BC0F}" srcOrd="0" destOrd="0" presId="urn:microsoft.com/office/officeart/2008/layout/VerticalCurvedList"/>
    <dgm:cxn modelId="{2BBCFF9A-EEFC-44B4-BC2D-134082FEEEF5}" type="presOf" srcId="{B9A48CF8-D428-45D1-8969-FBBF15BE7DBA}" destId="{38266B62-763B-47EE-941B-BD512A93B9FC}" srcOrd="0" destOrd="0" presId="urn:microsoft.com/office/officeart/2008/layout/VerticalCurvedList"/>
    <dgm:cxn modelId="{75BC15D3-E58B-4B5A-AEB7-3CE02EFD8705}" srcId="{F010CF21-4A6D-44EF-A02C-3D5169816247}" destId="{2950704D-F612-46DF-93DB-38562274CE0A}" srcOrd="2" destOrd="0" parTransId="{987F1677-1426-4E16-870E-56D0BC663F9B}" sibTransId="{83820126-CD9B-4B36-913F-47587C72FAFD}"/>
    <dgm:cxn modelId="{127426EF-8ACA-4C2A-9DCA-089579810FA4}" srcId="{F010CF21-4A6D-44EF-A02C-3D5169816247}" destId="{59788018-3182-43A3-8988-94BE0745A02A}" srcOrd="0" destOrd="0" parTransId="{0F449731-D9A8-453B-9CCE-25DFB8DF4287}" sibTransId="{F562CD0B-E8EB-4DBC-82FD-4F9ECF32E366}"/>
    <dgm:cxn modelId="{4BA219F5-DF5C-4A5A-8AD1-3305123A52BE}" type="presOf" srcId="{F562CD0B-E8EB-4DBC-82FD-4F9ECF32E366}" destId="{6940BDDF-1FEF-41BF-B9E9-0FFE3926A970}" srcOrd="0" destOrd="0" presId="urn:microsoft.com/office/officeart/2008/layout/VerticalCurvedList"/>
    <dgm:cxn modelId="{F061383E-55BE-644A-A054-B1BF76BC8A37}" type="presParOf" srcId="{08449366-2565-4365-85A6-6FD21C00BC0F}" destId="{43AFC4E7-46DA-4B7B-B201-0A406A05CAD2}" srcOrd="0" destOrd="0" presId="urn:microsoft.com/office/officeart/2008/layout/VerticalCurvedList"/>
    <dgm:cxn modelId="{6FF298EC-3580-F74F-90AB-72DC7E516CCF}" type="presParOf" srcId="{43AFC4E7-46DA-4B7B-B201-0A406A05CAD2}" destId="{C89A3969-C068-41DF-977E-ED5F7B6D0CE6}" srcOrd="0" destOrd="0" presId="urn:microsoft.com/office/officeart/2008/layout/VerticalCurvedList"/>
    <dgm:cxn modelId="{6729A3F8-BF06-514A-A444-B514AEEB00A8}" type="presParOf" srcId="{C89A3969-C068-41DF-977E-ED5F7B6D0CE6}" destId="{36B09AF6-20B6-459B-86E4-BA1ECCD29B61}" srcOrd="0" destOrd="0" presId="urn:microsoft.com/office/officeart/2008/layout/VerticalCurvedList"/>
    <dgm:cxn modelId="{6C2E9B69-AF8F-0148-8C74-F9F8288240F7}" type="presParOf" srcId="{C89A3969-C068-41DF-977E-ED5F7B6D0CE6}" destId="{6940BDDF-1FEF-41BF-B9E9-0FFE3926A970}" srcOrd="1" destOrd="0" presId="urn:microsoft.com/office/officeart/2008/layout/VerticalCurvedList"/>
    <dgm:cxn modelId="{D58DB0B2-11A2-5844-A5D6-88E4BC01A3D0}" type="presParOf" srcId="{C89A3969-C068-41DF-977E-ED5F7B6D0CE6}" destId="{CF948C64-B606-46D3-AF0E-5C95CC7F1D42}" srcOrd="2" destOrd="0" presId="urn:microsoft.com/office/officeart/2008/layout/VerticalCurvedList"/>
    <dgm:cxn modelId="{10696313-D083-2948-A140-15A5E3037090}" type="presParOf" srcId="{C89A3969-C068-41DF-977E-ED5F7B6D0CE6}" destId="{4485BF69-EF87-4AEE-AFDF-DE2F8D2ACCD9}" srcOrd="3" destOrd="0" presId="urn:microsoft.com/office/officeart/2008/layout/VerticalCurvedList"/>
    <dgm:cxn modelId="{3EED48A1-A558-C845-AADB-967072A92846}" type="presParOf" srcId="{43AFC4E7-46DA-4B7B-B201-0A406A05CAD2}" destId="{54C74578-773C-4297-A4DE-1398F67BB91C}" srcOrd="1" destOrd="0" presId="urn:microsoft.com/office/officeart/2008/layout/VerticalCurvedList"/>
    <dgm:cxn modelId="{482CF146-0D09-4849-B4E1-DC9831F36C1D}" type="presParOf" srcId="{43AFC4E7-46DA-4B7B-B201-0A406A05CAD2}" destId="{10D97C5B-BA88-4603-BEB8-816B9E26E1E0}" srcOrd="2" destOrd="0" presId="urn:microsoft.com/office/officeart/2008/layout/VerticalCurvedList"/>
    <dgm:cxn modelId="{76B9516D-0F20-FC4F-9CC0-824395ED95BC}" type="presParOf" srcId="{10D97C5B-BA88-4603-BEB8-816B9E26E1E0}" destId="{EBBCF617-4DDB-47D0-98C7-99413FA904B7}" srcOrd="0" destOrd="0" presId="urn:microsoft.com/office/officeart/2008/layout/VerticalCurvedList"/>
    <dgm:cxn modelId="{4EBF105E-81B6-4CB9-A83D-BADB4A1F3F6B}" type="presParOf" srcId="{43AFC4E7-46DA-4B7B-B201-0A406A05CAD2}" destId="{38266B62-763B-47EE-941B-BD512A93B9FC}" srcOrd="3" destOrd="0" presId="urn:microsoft.com/office/officeart/2008/layout/VerticalCurvedList"/>
    <dgm:cxn modelId="{ED363BF9-440F-435E-962C-A9C35F49A344}" type="presParOf" srcId="{43AFC4E7-46DA-4B7B-B201-0A406A05CAD2}" destId="{367B11EA-E5C1-4DED-8822-EE706D7B3490}" srcOrd="4" destOrd="0" presId="urn:microsoft.com/office/officeart/2008/layout/VerticalCurvedList"/>
    <dgm:cxn modelId="{3B005B22-F7CF-4BF5-9BB2-3FDAE20603B7}" type="presParOf" srcId="{367B11EA-E5C1-4DED-8822-EE706D7B3490}" destId="{7A113706-4115-4E46-A0DB-BB2E4C947383}" srcOrd="0" destOrd="0" presId="urn:microsoft.com/office/officeart/2008/layout/VerticalCurvedList"/>
    <dgm:cxn modelId="{B386FED0-5C5D-4D92-B6E3-ACD3BEC12D80}" type="presParOf" srcId="{43AFC4E7-46DA-4B7B-B201-0A406A05CAD2}" destId="{C44906E9-3C2F-4CD0-B0C9-498EF34769BF}" srcOrd="5" destOrd="0" presId="urn:microsoft.com/office/officeart/2008/layout/VerticalCurvedList"/>
    <dgm:cxn modelId="{DFEAE827-D2D2-42C0-98C4-B000CAB27FA2}" type="presParOf" srcId="{43AFC4E7-46DA-4B7B-B201-0A406A05CAD2}" destId="{99431DD1-4D5B-4288-A4D7-5DDCAA9317FA}" srcOrd="6" destOrd="0" presId="urn:microsoft.com/office/officeart/2008/layout/VerticalCurvedList"/>
    <dgm:cxn modelId="{06B8C854-316E-4EB4-BB52-E05E356F9592}" type="presParOf" srcId="{99431DD1-4D5B-4288-A4D7-5DDCAA9317FA}" destId="{0692BF8D-B063-4580-8A2D-225A14481CCD}" srcOrd="0" destOrd="0" presId="urn:microsoft.com/office/officeart/2008/layout/VerticalCurvedList"/>
    <dgm:cxn modelId="{881BBE41-FEDF-45D1-AD76-115D6A351C41}" type="presParOf" srcId="{43AFC4E7-46DA-4B7B-B201-0A406A05CAD2}" destId="{985C842E-3771-4A21-BC8F-6664E8E4209A}" srcOrd="7" destOrd="0" presId="urn:microsoft.com/office/officeart/2008/layout/VerticalCurvedList"/>
    <dgm:cxn modelId="{E9181451-AE84-4879-8081-53EEDAD249C1}" type="presParOf" srcId="{43AFC4E7-46DA-4B7B-B201-0A406A05CAD2}" destId="{9DF189B9-2AF4-4537-8488-D9604CD8D7C6}" srcOrd="8" destOrd="0" presId="urn:microsoft.com/office/officeart/2008/layout/VerticalCurvedList"/>
    <dgm:cxn modelId="{675284D5-7F6B-4E16-9B16-3416C5C07E60}" type="presParOf" srcId="{9DF189B9-2AF4-4537-8488-D9604CD8D7C6}" destId="{1CAC461D-769E-43F1-85D8-A86E37EE9368}" srcOrd="0" destOrd="0" presId="urn:microsoft.com/office/officeart/2008/layout/VerticalCurvedList"/>
    <dgm:cxn modelId="{0916922B-2E54-4986-9739-4D5C363FCDE6}" type="presParOf" srcId="{43AFC4E7-46DA-4B7B-B201-0A406A05CAD2}" destId="{E94408CD-EF85-4774-BA53-A3DB7D3C1F4C}" srcOrd="9" destOrd="0" presId="urn:microsoft.com/office/officeart/2008/layout/VerticalCurvedList"/>
    <dgm:cxn modelId="{DCE6FD2A-03BB-4280-AC64-DC7A4D8AA307}" type="presParOf" srcId="{43AFC4E7-46DA-4B7B-B201-0A406A05CAD2}" destId="{084B543F-777C-44B7-8089-181F52D7D6B4}" srcOrd="10" destOrd="0" presId="urn:microsoft.com/office/officeart/2008/layout/VerticalCurvedList"/>
    <dgm:cxn modelId="{71EF4550-A211-4E4D-91C4-D49A790C2D7D}" type="presParOf" srcId="{084B543F-777C-44B7-8089-181F52D7D6B4}" destId="{5AF5E7EE-A04D-40FC-8300-CF20EEE80831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6AD27D72-3829-45AF-BB03-3F81F882932E}" type="doc">
      <dgm:prSet loTypeId="urn:microsoft.com/office/officeart/2005/8/layout/cycle6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A21FE2B9-2D58-48B8-A140-1E34A9DDF469}">
      <dgm:prSet phldrT="[Texte]" custT="1"/>
      <dgm:spPr>
        <a:solidFill>
          <a:schemeClr val="accent3">
            <a:lumMod val="60000"/>
            <a:lumOff val="40000"/>
          </a:schemeClr>
        </a:solidFill>
      </dgm:spPr>
      <dgm:t>
        <a:bodyPr/>
        <a:lstStyle/>
        <a:p>
          <a:r>
            <a:rPr lang="fr-FR" sz="1400" b="1" dirty="0">
              <a:solidFill>
                <a:schemeClr val="tx1"/>
              </a:solidFill>
            </a:rPr>
            <a:t>Mise en œuvre du Projet du Club</a:t>
          </a:r>
        </a:p>
      </dgm:t>
    </dgm:pt>
    <dgm:pt modelId="{B460F42D-BC1D-4206-9EC3-C90729837581}" type="parTrans" cxnId="{48CD964A-4992-47F5-8D3D-A2047BFE14F3}">
      <dgm:prSet/>
      <dgm:spPr/>
      <dgm:t>
        <a:bodyPr/>
        <a:lstStyle/>
        <a:p>
          <a:endParaRPr lang="fr-FR"/>
        </a:p>
      </dgm:t>
    </dgm:pt>
    <dgm:pt modelId="{35EF778C-B036-4853-AA6A-6BD4C6E1490B}" type="sibTrans" cxnId="{48CD964A-4992-47F5-8D3D-A2047BFE14F3}">
      <dgm:prSet/>
      <dgm:spPr/>
      <dgm:t>
        <a:bodyPr/>
        <a:lstStyle/>
        <a:p>
          <a:endParaRPr lang="fr-FR"/>
        </a:p>
      </dgm:t>
    </dgm:pt>
    <dgm:pt modelId="{6EAE6A61-DBC0-4FC7-8181-A195940B9833}">
      <dgm:prSet phldrT="[Texte]" custT="1"/>
      <dgm:spPr>
        <a:solidFill>
          <a:schemeClr val="accent3"/>
        </a:solidFill>
      </dgm:spPr>
      <dgm:t>
        <a:bodyPr/>
        <a:lstStyle/>
        <a:p>
          <a:r>
            <a:rPr lang="fr-FR" sz="1400" b="1" dirty="0">
              <a:solidFill>
                <a:schemeClr val="tx1"/>
              </a:solidFill>
            </a:rPr>
            <a:t>Organiser les évènements</a:t>
          </a:r>
        </a:p>
      </dgm:t>
    </dgm:pt>
    <dgm:pt modelId="{DD755913-3F2C-46EF-8272-D4BF8374020F}" type="parTrans" cxnId="{722A064A-AEE8-4F0E-B8CF-A96CD52D54C6}">
      <dgm:prSet/>
      <dgm:spPr/>
      <dgm:t>
        <a:bodyPr/>
        <a:lstStyle/>
        <a:p>
          <a:endParaRPr lang="fr-FR"/>
        </a:p>
      </dgm:t>
    </dgm:pt>
    <dgm:pt modelId="{E74147C4-B1CB-4103-8AFC-6A04CA07238D}" type="sibTrans" cxnId="{722A064A-AEE8-4F0E-B8CF-A96CD52D54C6}">
      <dgm:prSet/>
      <dgm:spPr/>
      <dgm:t>
        <a:bodyPr/>
        <a:lstStyle/>
        <a:p>
          <a:endParaRPr lang="fr-FR"/>
        </a:p>
      </dgm:t>
    </dgm:pt>
    <dgm:pt modelId="{1B15FDF5-5AF2-4FF6-80DD-E0FBDDCF1A7D}">
      <dgm:prSet phldrT="[Texte]" custT="1"/>
      <dgm:spPr>
        <a:solidFill>
          <a:schemeClr val="accent5">
            <a:lumMod val="20000"/>
            <a:lumOff val="80000"/>
          </a:schemeClr>
        </a:solidFill>
      </dgm:spPr>
      <dgm:t>
        <a:bodyPr/>
        <a:lstStyle/>
        <a:p>
          <a:r>
            <a:rPr lang="fr-FR" sz="1400" b="1" dirty="0">
              <a:solidFill>
                <a:schemeClr val="tx1"/>
              </a:solidFill>
            </a:rPr>
            <a:t>Election du Bureau et des commissions</a:t>
          </a:r>
        </a:p>
      </dgm:t>
    </dgm:pt>
    <dgm:pt modelId="{602EB402-3945-466C-AA5A-2D68FA394D68}" type="parTrans" cxnId="{75BC852F-5776-43FD-94AE-4F5E35FC2402}">
      <dgm:prSet/>
      <dgm:spPr/>
      <dgm:t>
        <a:bodyPr/>
        <a:lstStyle/>
        <a:p>
          <a:endParaRPr lang="fr-FR"/>
        </a:p>
      </dgm:t>
    </dgm:pt>
    <dgm:pt modelId="{0B337CCC-0A0B-448B-8C45-60C6FEFAADB5}" type="sibTrans" cxnId="{75BC852F-5776-43FD-94AE-4F5E35FC2402}">
      <dgm:prSet/>
      <dgm:spPr/>
      <dgm:t>
        <a:bodyPr/>
        <a:lstStyle/>
        <a:p>
          <a:endParaRPr lang="fr-FR"/>
        </a:p>
      </dgm:t>
    </dgm:pt>
    <dgm:pt modelId="{C7AD3BAE-019B-4CCF-93CA-5AFD54415F1D}">
      <dgm:prSet phldrT="[Texte]" custT="1"/>
      <dgm:spPr>
        <a:solidFill>
          <a:schemeClr val="accent6">
            <a:lumMod val="40000"/>
            <a:lumOff val="60000"/>
          </a:schemeClr>
        </a:solidFill>
      </dgm:spPr>
      <dgm:t>
        <a:bodyPr/>
        <a:lstStyle/>
        <a:p>
          <a:r>
            <a:rPr lang="fr-FR" sz="1400" b="1" dirty="0">
              <a:solidFill>
                <a:schemeClr val="tx1"/>
              </a:solidFill>
            </a:rPr>
            <a:t>Assurer le lien avec la Mairie</a:t>
          </a:r>
        </a:p>
      </dgm:t>
    </dgm:pt>
    <dgm:pt modelId="{E83348CB-03B9-4C77-AA59-45D2CBB5D5C6}" type="parTrans" cxnId="{3FD37747-D7BD-46DE-99A8-EACB26DCB43F}">
      <dgm:prSet/>
      <dgm:spPr/>
      <dgm:t>
        <a:bodyPr/>
        <a:lstStyle/>
        <a:p>
          <a:endParaRPr lang="fr-FR"/>
        </a:p>
      </dgm:t>
    </dgm:pt>
    <dgm:pt modelId="{08966573-E8EE-49D0-ADF7-E943863BCAA1}" type="sibTrans" cxnId="{3FD37747-D7BD-46DE-99A8-EACB26DCB43F}">
      <dgm:prSet/>
      <dgm:spPr/>
      <dgm:t>
        <a:bodyPr/>
        <a:lstStyle/>
        <a:p>
          <a:endParaRPr lang="fr-FR"/>
        </a:p>
      </dgm:t>
    </dgm:pt>
    <dgm:pt modelId="{0D2E243F-B380-4CB4-AEFD-5051CCD9BA93}">
      <dgm:prSet phldrT="[Texte]" custT="1"/>
      <dgm:spPr>
        <a:solidFill>
          <a:schemeClr val="accent6"/>
        </a:solidFill>
      </dgm:spPr>
      <dgm:t>
        <a:bodyPr/>
        <a:lstStyle/>
        <a:p>
          <a:r>
            <a:rPr lang="fr-FR" sz="1400" b="1" dirty="0">
              <a:solidFill>
                <a:schemeClr val="tx1"/>
              </a:solidFill>
            </a:rPr>
            <a:t>Assurer son fonctionnement en lien avec les entraîneurs</a:t>
          </a:r>
        </a:p>
      </dgm:t>
    </dgm:pt>
    <dgm:pt modelId="{14CAA793-8A20-410D-BE79-CA4D7089E06A}" type="parTrans" cxnId="{0B57EE77-BBFB-4D07-863B-B4415D1FF76E}">
      <dgm:prSet/>
      <dgm:spPr/>
      <dgm:t>
        <a:bodyPr/>
        <a:lstStyle/>
        <a:p>
          <a:endParaRPr lang="fr-FR"/>
        </a:p>
      </dgm:t>
    </dgm:pt>
    <dgm:pt modelId="{B172D1CC-9CF5-4394-8D50-0BD3657D26FC}" type="sibTrans" cxnId="{0B57EE77-BBFB-4D07-863B-B4415D1FF76E}">
      <dgm:prSet/>
      <dgm:spPr/>
      <dgm:t>
        <a:bodyPr/>
        <a:lstStyle/>
        <a:p>
          <a:endParaRPr lang="fr-FR"/>
        </a:p>
      </dgm:t>
    </dgm:pt>
    <dgm:pt modelId="{25F95EBB-A2A3-4B5F-B799-56EB7A705D68}">
      <dgm:prSet phldrT="[Texte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fr-FR" sz="1400" b="1" dirty="0">
              <a:solidFill>
                <a:schemeClr val="tx1"/>
              </a:solidFill>
            </a:rPr>
            <a:t>Assurer le lien avec les Fédérations</a:t>
          </a:r>
        </a:p>
      </dgm:t>
    </dgm:pt>
    <dgm:pt modelId="{173AC98C-5EB6-4853-A55B-3B12946A469C}" type="parTrans" cxnId="{64760406-4DB9-4B01-8255-A87F2A40CAE5}">
      <dgm:prSet/>
      <dgm:spPr/>
      <dgm:t>
        <a:bodyPr/>
        <a:lstStyle/>
        <a:p>
          <a:endParaRPr lang="fr-FR"/>
        </a:p>
      </dgm:t>
    </dgm:pt>
    <dgm:pt modelId="{88D68019-5ED1-44A5-80E8-68F5D0792BCE}" type="sibTrans" cxnId="{64760406-4DB9-4B01-8255-A87F2A40CAE5}">
      <dgm:prSet/>
      <dgm:spPr/>
      <dgm:t>
        <a:bodyPr/>
        <a:lstStyle/>
        <a:p>
          <a:endParaRPr lang="fr-FR"/>
        </a:p>
      </dgm:t>
    </dgm:pt>
    <dgm:pt modelId="{BD6F3484-16A8-41C6-9539-14368A403B75}">
      <dgm:prSet phldrT="[Texte]" custT="1"/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r>
            <a:rPr lang="fr-FR" sz="1400" b="1" dirty="0">
              <a:solidFill>
                <a:schemeClr val="tx1"/>
              </a:solidFill>
            </a:rPr>
            <a:t>Gestion du matériel et des équipements</a:t>
          </a:r>
        </a:p>
      </dgm:t>
    </dgm:pt>
    <dgm:pt modelId="{C82598A6-4D03-42DF-B6C2-02F74135CD49}" type="parTrans" cxnId="{76026096-2320-4466-BD1F-9B02D3D4DC1E}">
      <dgm:prSet/>
      <dgm:spPr/>
      <dgm:t>
        <a:bodyPr/>
        <a:lstStyle/>
        <a:p>
          <a:endParaRPr lang="fr-FR"/>
        </a:p>
      </dgm:t>
    </dgm:pt>
    <dgm:pt modelId="{9D7A7EAE-CD6C-46C6-899B-99C69ABA473F}" type="sibTrans" cxnId="{76026096-2320-4466-BD1F-9B02D3D4DC1E}">
      <dgm:prSet/>
      <dgm:spPr/>
      <dgm:t>
        <a:bodyPr/>
        <a:lstStyle/>
        <a:p>
          <a:endParaRPr lang="fr-FR"/>
        </a:p>
      </dgm:t>
    </dgm:pt>
    <dgm:pt modelId="{1771EABB-CA51-4F05-ABC4-EDF59245C84F}">
      <dgm:prSet phldrT="[Texte]" custT="1"/>
      <dgm:spPr>
        <a:solidFill>
          <a:schemeClr val="accent3">
            <a:lumMod val="40000"/>
            <a:lumOff val="60000"/>
          </a:schemeClr>
        </a:solidFill>
      </dgm:spPr>
      <dgm:t>
        <a:bodyPr/>
        <a:lstStyle/>
        <a:p>
          <a:r>
            <a:rPr lang="fr-FR" sz="1400" b="1" dirty="0">
              <a:solidFill>
                <a:schemeClr val="tx1"/>
              </a:solidFill>
            </a:rPr>
            <a:t>Être des relais avec les groupes</a:t>
          </a:r>
        </a:p>
      </dgm:t>
    </dgm:pt>
    <dgm:pt modelId="{C1D88F01-2670-43FD-9E8C-43146E51DFBD}" type="parTrans" cxnId="{34AF00D2-0284-4D48-AE69-F9A2CE64F71D}">
      <dgm:prSet/>
      <dgm:spPr/>
      <dgm:t>
        <a:bodyPr/>
        <a:lstStyle/>
        <a:p>
          <a:endParaRPr lang="fr-FR"/>
        </a:p>
      </dgm:t>
    </dgm:pt>
    <dgm:pt modelId="{6AB9AC3B-69BF-4C9A-8A52-E357657A325A}" type="sibTrans" cxnId="{34AF00D2-0284-4D48-AE69-F9A2CE64F71D}">
      <dgm:prSet/>
      <dgm:spPr/>
      <dgm:t>
        <a:bodyPr/>
        <a:lstStyle/>
        <a:p>
          <a:endParaRPr lang="fr-FR"/>
        </a:p>
      </dgm:t>
    </dgm:pt>
    <dgm:pt modelId="{40C96553-284E-44B6-9367-F204A63E2DE6}" type="pres">
      <dgm:prSet presAssocID="{6AD27D72-3829-45AF-BB03-3F81F882932E}" presName="cycle" presStyleCnt="0">
        <dgm:presLayoutVars>
          <dgm:dir/>
          <dgm:resizeHandles val="exact"/>
        </dgm:presLayoutVars>
      </dgm:prSet>
      <dgm:spPr/>
    </dgm:pt>
    <dgm:pt modelId="{B482DA80-51EC-45B9-84BE-90C49C8AD096}" type="pres">
      <dgm:prSet presAssocID="{1B15FDF5-5AF2-4FF6-80DD-E0FBDDCF1A7D}" presName="node" presStyleLbl="node1" presStyleIdx="0" presStyleCnt="8" custScaleX="132924" custScaleY="149343">
        <dgm:presLayoutVars>
          <dgm:bulletEnabled val="1"/>
        </dgm:presLayoutVars>
      </dgm:prSet>
      <dgm:spPr/>
    </dgm:pt>
    <dgm:pt modelId="{09D3B00A-C832-46B0-A27A-4867A11A6879}" type="pres">
      <dgm:prSet presAssocID="{1B15FDF5-5AF2-4FF6-80DD-E0FBDDCF1A7D}" presName="spNode" presStyleCnt="0"/>
      <dgm:spPr/>
    </dgm:pt>
    <dgm:pt modelId="{9DC2EF8D-6BE3-4FAF-AA5F-9B0A0222C406}" type="pres">
      <dgm:prSet presAssocID="{0B337CCC-0A0B-448B-8C45-60C6FEFAADB5}" presName="sibTrans" presStyleLbl="sibTrans1D1" presStyleIdx="0" presStyleCnt="8"/>
      <dgm:spPr/>
    </dgm:pt>
    <dgm:pt modelId="{9C49E872-D197-4B61-8A58-136C4AD0D6BD}" type="pres">
      <dgm:prSet presAssocID="{C7AD3BAE-019B-4CCF-93CA-5AFD54415F1D}" presName="node" presStyleLbl="node1" presStyleIdx="1" presStyleCnt="8" custScaleX="146021" custScaleY="169908" custRadScaleRad="100603" custRadScaleInc="-6454">
        <dgm:presLayoutVars>
          <dgm:bulletEnabled val="1"/>
        </dgm:presLayoutVars>
      </dgm:prSet>
      <dgm:spPr/>
    </dgm:pt>
    <dgm:pt modelId="{B138C301-AE9C-4154-8077-EAA965DD962F}" type="pres">
      <dgm:prSet presAssocID="{C7AD3BAE-019B-4CCF-93CA-5AFD54415F1D}" presName="spNode" presStyleCnt="0"/>
      <dgm:spPr/>
    </dgm:pt>
    <dgm:pt modelId="{5F631634-E3F0-4E98-A366-F6C12F29C29A}" type="pres">
      <dgm:prSet presAssocID="{08966573-E8EE-49D0-ADF7-E943863BCAA1}" presName="sibTrans" presStyleLbl="sibTrans1D1" presStyleIdx="1" presStyleCnt="8"/>
      <dgm:spPr/>
    </dgm:pt>
    <dgm:pt modelId="{0128B409-C85E-4D22-B6EE-853FF04D0F3B}" type="pres">
      <dgm:prSet presAssocID="{25F95EBB-A2A3-4B5F-B799-56EB7A705D68}" presName="node" presStyleLbl="node1" presStyleIdx="2" presStyleCnt="8" custScaleX="156517" custScaleY="201830" custRadScaleRad="98886" custRadScaleInc="-1934">
        <dgm:presLayoutVars>
          <dgm:bulletEnabled val="1"/>
        </dgm:presLayoutVars>
      </dgm:prSet>
      <dgm:spPr/>
    </dgm:pt>
    <dgm:pt modelId="{E79D58AC-D190-4FE3-9E8C-378472CF6C7F}" type="pres">
      <dgm:prSet presAssocID="{25F95EBB-A2A3-4B5F-B799-56EB7A705D68}" presName="spNode" presStyleCnt="0"/>
      <dgm:spPr/>
    </dgm:pt>
    <dgm:pt modelId="{B9C57425-FAB0-4336-AC12-3322DB44AFA4}" type="pres">
      <dgm:prSet presAssocID="{88D68019-5ED1-44A5-80E8-68F5D0792BCE}" presName="sibTrans" presStyleLbl="sibTrans1D1" presStyleIdx="2" presStyleCnt="8"/>
      <dgm:spPr/>
    </dgm:pt>
    <dgm:pt modelId="{CE1DDB43-68A2-4889-9E8F-B0F81C2C5E00}" type="pres">
      <dgm:prSet presAssocID="{0D2E243F-B380-4CB4-AEFD-5051CCD9BA93}" presName="node" presStyleLbl="node1" presStyleIdx="3" presStyleCnt="8" custScaleX="198574" custScaleY="139900">
        <dgm:presLayoutVars>
          <dgm:bulletEnabled val="1"/>
        </dgm:presLayoutVars>
      </dgm:prSet>
      <dgm:spPr/>
    </dgm:pt>
    <dgm:pt modelId="{4EA46F25-6927-404C-9DC6-F435B29A0095}" type="pres">
      <dgm:prSet presAssocID="{0D2E243F-B380-4CB4-AEFD-5051CCD9BA93}" presName="spNode" presStyleCnt="0"/>
      <dgm:spPr/>
    </dgm:pt>
    <dgm:pt modelId="{51919951-C1BF-4AA5-A0A1-7CCB098650B6}" type="pres">
      <dgm:prSet presAssocID="{B172D1CC-9CF5-4394-8D50-0BD3657D26FC}" presName="sibTrans" presStyleLbl="sibTrans1D1" presStyleIdx="3" presStyleCnt="8"/>
      <dgm:spPr/>
    </dgm:pt>
    <dgm:pt modelId="{7107BC3D-E291-4D6B-997A-58BE71EC00FE}" type="pres">
      <dgm:prSet presAssocID="{1771EABB-CA51-4F05-ABC4-EDF59245C84F}" presName="node" presStyleLbl="node1" presStyleIdx="4" presStyleCnt="8" custScaleX="120480" custScaleY="107372">
        <dgm:presLayoutVars>
          <dgm:bulletEnabled val="1"/>
        </dgm:presLayoutVars>
      </dgm:prSet>
      <dgm:spPr/>
    </dgm:pt>
    <dgm:pt modelId="{6405EBA9-7166-4D27-82A1-BA94AB7C4C96}" type="pres">
      <dgm:prSet presAssocID="{1771EABB-CA51-4F05-ABC4-EDF59245C84F}" presName="spNode" presStyleCnt="0"/>
      <dgm:spPr/>
    </dgm:pt>
    <dgm:pt modelId="{EDB84C79-22A1-4FEC-B821-E94C8D235680}" type="pres">
      <dgm:prSet presAssocID="{6AB9AC3B-69BF-4C9A-8A52-E357657A325A}" presName="sibTrans" presStyleLbl="sibTrans1D1" presStyleIdx="4" presStyleCnt="8"/>
      <dgm:spPr/>
    </dgm:pt>
    <dgm:pt modelId="{E4645F58-E25A-40CE-90DE-4A787FC23356}" type="pres">
      <dgm:prSet presAssocID="{A21FE2B9-2D58-48B8-A140-1E34A9DDF469}" presName="node" presStyleLbl="node1" presStyleIdx="5" presStyleCnt="8" custScaleX="137602" custScaleY="151282">
        <dgm:presLayoutVars>
          <dgm:bulletEnabled val="1"/>
        </dgm:presLayoutVars>
      </dgm:prSet>
      <dgm:spPr/>
    </dgm:pt>
    <dgm:pt modelId="{44A0579E-957D-479D-BE8C-4971B24D8C4C}" type="pres">
      <dgm:prSet presAssocID="{A21FE2B9-2D58-48B8-A140-1E34A9DDF469}" presName="spNode" presStyleCnt="0"/>
      <dgm:spPr/>
    </dgm:pt>
    <dgm:pt modelId="{DC6CD9BB-6173-476D-B7E5-430CD1C20B2F}" type="pres">
      <dgm:prSet presAssocID="{35EF778C-B036-4853-AA6A-6BD4C6E1490B}" presName="sibTrans" presStyleLbl="sibTrans1D1" presStyleIdx="5" presStyleCnt="8"/>
      <dgm:spPr/>
    </dgm:pt>
    <dgm:pt modelId="{5CD2FA7D-328D-4EF7-B6A3-2AB11320097B}" type="pres">
      <dgm:prSet presAssocID="{BD6F3484-16A8-41C6-9539-14368A403B75}" presName="node" presStyleLbl="node1" presStyleIdx="6" presStyleCnt="8" custScaleX="164430" custScaleY="175106">
        <dgm:presLayoutVars>
          <dgm:bulletEnabled val="1"/>
        </dgm:presLayoutVars>
      </dgm:prSet>
      <dgm:spPr/>
    </dgm:pt>
    <dgm:pt modelId="{E23E6656-F13D-4A12-8456-529FDD78AD75}" type="pres">
      <dgm:prSet presAssocID="{BD6F3484-16A8-41C6-9539-14368A403B75}" presName="spNode" presStyleCnt="0"/>
      <dgm:spPr/>
    </dgm:pt>
    <dgm:pt modelId="{E75E76DD-1C6D-42DD-992B-219B98B7CE30}" type="pres">
      <dgm:prSet presAssocID="{9D7A7EAE-CD6C-46C6-899B-99C69ABA473F}" presName="sibTrans" presStyleLbl="sibTrans1D1" presStyleIdx="6" presStyleCnt="8"/>
      <dgm:spPr/>
    </dgm:pt>
    <dgm:pt modelId="{85EE52B4-AF43-4982-BEDA-233FFC9726C4}" type="pres">
      <dgm:prSet presAssocID="{6EAE6A61-DBC0-4FC7-8181-A195940B9833}" presName="node" presStyleLbl="node1" presStyleIdx="7" presStyleCnt="8" custScaleX="166711" custScaleY="150946">
        <dgm:presLayoutVars>
          <dgm:bulletEnabled val="1"/>
        </dgm:presLayoutVars>
      </dgm:prSet>
      <dgm:spPr/>
    </dgm:pt>
    <dgm:pt modelId="{FF569DA7-7C34-4895-9CA5-5801490A676F}" type="pres">
      <dgm:prSet presAssocID="{6EAE6A61-DBC0-4FC7-8181-A195940B9833}" presName="spNode" presStyleCnt="0"/>
      <dgm:spPr/>
    </dgm:pt>
    <dgm:pt modelId="{EED813DF-4BE7-46A8-BCCB-57EF9B6C306F}" type="pres">
      <dgm:prSet presAssocID="{E74147C4-B1CB-4103-8AFC-6A04CA07238D}" presName="sibTrans" presStyleLbl="sibTrans1D1" presStyleIdx="7" presStyleCnt="8"/>
      <dgm:spPr/>
    </dgm:pt>
  </dgm:ptLst>
  <dgm:cxnLst>
    <dgm:cxn modelId="{64760406-4DB9-4B01-8255-A87F2A40CAE5}" srcId="{6AD27D72-3829-45AF-BB03-3F81F882932E}" destId="{25F95EBB-A2A3-4B5F-B799-56EB7A705D68}" srcOrd="2" destOrd="0" parTransId="{173AC98C-5EB6-4853-A55B-3B12946A469C}" sibTransId="{88D68019-5ED1-44A5-80E8-68F5D0792BCE}"/>
    <dgm:cxn modelId="{FBC2930B-F68F-45C3-9773-AB63B45BFBB6}" type="presOf" srcId="{6AD27D72-3829-45AF-BB03-3F81F882932E}" destId="{40C96553-284E-44B6-9367-F204A63E2DE6}" srcOrd="0" destOrd="0" presId="urn:microsoft.com/office/officeart/2005/8/layout/cycle6"/>
    <dgm:cxn modelId="{BD097714-4999-4B71-B796-515CF90E6059}" type="presOf" srcId="{E74147C4-B1CB-4103-8AFC-6A04CA07238D}" destId="{EED813DF-4BE7-46A8-BCCB-57EF9B6C306F}" srcOrd="0" destOrd="0" presId="urn:microsoft.com/office/officeart/2005/8/layout/cycle6"/>
    <dgm:cxn modelId="{D7F5901A-FD88-41C5-86D2-60B728B5A14F}" type="presOf" srcId="{0D2E243F-B380-4CB4-AEFD-5051CCD9BA93}" destId="{CE1DDB43-68A2-4889-9E8F-B0F81C2C5E00}" srcOrd="0" destOrd="0" presId="urn:microsoft.com/office/officeart/2005/8/layout/cycle6"/>
    <dgm:cxn modelId="{D11ED71B-080E-4D73-A5C6-E668A96A3829}" type="presOf" srcId="{6EAE6A61-DBC0-4FC7-8181-A195940B9833}" destId="{85EE52B4-AF43-4982-BEDA-233FFC9726C4}" srcOrd="0" destOrd="0" presId="urn:microsoft.com/office/officeart/2005/8/layout/cycle6"/>
    <dgm:cxn modelId="{E8CFDD24-5F92-4C01-870F-5FD1CEA6E13A}" type="presOf" srcId="{C7AD3BAE-019B-4CCF-93CA-5AFD54415F1D}" destId="{9C49E872-D197-4B61-8A58-136C4AD0D6BD}" srcOrd="0" destOrd="0" presId="urn:microsoft.com/office/officeart/2005/8/layout/cycle6"/>
    <dgm:cxn modelId="{75BC852F-5776-43FD-94AE-4F5E35FC2402}" srcId="{6AD27D72-3829-45AF-BB03-3F81F882932E}" destId="{1B15FDF5-5AF2-4FF6-80DD-E0FBDDCF1A7D}" srcOrd="0" destOrd="0" parTransId="{602EB402-3945-466C-AA5A-2D68FA394D68}" sibTransId="{0B337CCC-0A0B-448B-8C45-60C6FEFAADB5}"/>
    <dgm:cxn modelId="{E1F5D234-E925-43D9-8FF6-5A852A630900}" type="presOf" srcId="{35EF778C-B036-4853-AA6A-6BD4C6E1490B}" destId="{DC6CD9BB-6173-476D-B7E5-430CD1C20B2F}" srcOrd="0" destOrd="0" presId="urn:microsoft.com/office/officeart/2005/8/layout/cycle6"/>
    <dgm:cxn modelId="{C2F7BF39-15BB-4FEE-96D1-4CD9B6879827}" type="presOf" srcId="{88D68019-5ED1-44A5-80E8-68F5D0792BCE}" destId="{B9C57425-FAB0-4336-AC12-3322DB44AFA4}" srcOrd="0" destOrd="0" presId="urn:microsoft.com/office/officeart/2005/8/layout/cycle6"/>
    <dgm:cxn modelId="{B03D8341-B3F4-4BE0-9E0C-171970AE91BF}" type="presOf" srcId="{6AB9AC3B-69BF-4C9A-8A52-E357657A325A}" destId="{EDB84C79-22A1-4FEC-B821-E94C8D235680}" srcOrd="0" destOrd="0" presId="urn:microsoft.com/office/officeart/2005/8/layout/cycle6"/>
    <dgm:cxn modelId="{3FD37747-D7BD-46DE-99A8-EACB26DCB43F}" srcId="{6AD27D72-3829-45AF-BB03-3F81F882932E}" destId="{C7AD3BAE-019B-4CCF-93CA-5AFD54415F1D}" srcOrd="1" destOrd="0" parTransId="{E83348CB-03B9-4C77-AA59-45D2CBB5D5C6}" sibTransId="{08966573-E8EE-49D0-ADF7-E943863BCAA1}"/>
    <dgm:cxn modelId="{722A064A-AEE8-4F0E-B8CF-A96CD52D54C6}" srcId="{6AD27D72-3829-45AF-BB03-3F81F882932E}" destId="{6EAE6A61-DBC0-4FC7-8181-A195940B9833}" srcOrd="7" destOrd="0" parTransId="{DD755913-3F2C-46EF-8272-D4BF8374020F}" sibTransId="{E74147C4-B1CB-4103-8AFC-6A04CA07238D}"/>
    <dgm:cxn modelId="{48CD964A-4992-47F5-8D3D-A2047BFE14F3}" srcId="{6AD27D72-3829-45AF-BB03-3F81F882932E}" destId="{A21FE2B9-2D58-48B8-A140-1E34A9DDF469}" srcOrd="5" destOrd="0" parTransId="{B460F42D-BC1D-4206-9EC3-C90729837581}" sibTransId="{35EF778C-B036-4853-AA6A-6BD4C6E1490B}"/>
    <dgm:cxn modelId="{F113514D-2385-4287-B36F-EA6781446166}" type="presOf" srcId="{A21FE2B9-2D58-48B8-A140-1E34A9DDF469}" destId="{E4645F58-E25A-40CE-90DE-4A787FC23356}" srcOrd="0" destOrd="0" presId="urn:microsoft.com/office/officeart/2005/8/layout/cycle6"/>
    <dgm:cxn modelId="{3A637D74-5704-4C96-89FE-3465272DDAE9}" type="presOf" srcId="{25F95EBB-A2A3-4B5F-B799-56EB7A705D68}" destId="{0128B409-C85E-4D22-B6EE-853FF04D0F3B}" srcOrd="0" destOrd="0" presId="urn:microsoft.com/office/officeart/2005/8/layout/cycle6"/>
    <dgm:cxn modelId="{0B57EE77-BBFB-4D07-863B-B4415D1FF76E}" srcId="{6AD27D72-3829-45AF-BB03-3F81F882932E}" destId="{0D2E243F-B380-4CB4-AEFD-5051CCD9BA93}" srcOrd="3" destOrd="0" parTransId="{14CAA793-8A20-410D-BE79-CA4D7089E06A}" sibTransId="{B172D1CC-9CF5-4394-8D50-0BD3657D26FC}"/>
    <dgm:cxn modelId="{77EE8258-678F-4248-BCE0-B8AC7A404CA1}" type="presOf" srcId="{0B337CCC-0A0B-448B-8C45-60C6FEFAADB5}" destId="{9DC2EF8D-6BE3-4FAF-AA5F-9B0A0222C406}" srcOrd="0" destOrd="0" presId="urn:microsoft.com/office/officeart/2005/8/layout/cycle6"/>
    <dgm:cxn modelId="{400BD580-79C8-4281-A2EF-BEABFABE55D7}" type="presOf" srcId="{08966573-E8EE-49D0-ADF7-E943863BCAA1}" destId="{5F631634-E3F0-4E98-A366-F6C12F29C29A}" srcOrd="0" destOrd="0" presId="urn:microsoft.com/office/officeart/2005/8/layout/cycle6"/>
    <dgm:cxn modelId="{E86C9C87-BB16-4A82-83E3-1CB7F58B088B}" type="presOf" srcId="{1B15FDF5-5AF2-4FF6-80DD-E0FBDDCF1A7D}" destId="{B482DA80-51EC-45B9-84BE-90C49C8AD096}" srcOrd="0" destOrd="0" presId="urn:microsoft.com/office/officeart/2005/8/layout/cycle6"/>
    <dgm:cxn modelId="{76026096-2320-4466-BD1F-9B02D3D4DC1E}" srcId="{6AD27D72-3829-45AF-BB03-3F81F882932E}" destId="{BD6F3484-16A8-41C6-9539-14368A403B75}" srcOrd="6" destOrd="0" parTransId="{C82598A6-4D03-42DF-B6C2-02F74135CD49}" sibTransId="{9D7A7EAE-CD6C-46C6-899B-99C69ABA473F}"/>
    <dgm:cxn modelId="{822461B0-4097-4D05-AC45-3283CF6C0287}" type="presOf" srcId="{9D7A7EAE-CD6C-46C6-899B-99C69ABA473F}" destId="{E75E76DD-1C6D-42DD-992B-219B98B7CE30}" srcOrd="0" destOrd="0" presId="urn:microsoft.com/office/officeart/2005/8/layout/cycle6"/>
    <dgm:cxn modelId="{10DF08CC-AE7E-49BC-9FFB-1D2326A3C15B}" type="presOf" srcId="{B172D1CC-9CF5-4394-8D50-0BD3657D26FC}" destId="{51919951-C1BF-4AA5-A0A1-7CCB098650B6}" srcOrd="0" destOrd="0" presId="urn:microsoft.com/office/officeart/2005/8/layout/cycle6"/>
    <dgm:cxn modelId="{34AF00D2-0284-4D48-AE69-F9A2CE64F71D}" srcId="{6AD27D72-3829-45AF-BB03-3F81F882932E}" destId="{1771EABB-CA51-4F05-ABC4-EDF59245C84F}" srcOrd="4" destOrd="0" parTransId="{C1D88F01-2670-43FD-9E8C-43146E51DFBD}" sibTransId="{6AB9AC3B-69BF-4C9A-8A52-E357657A325A}"/>
    <dgm:cxn modelId="{9011E7E8-BE13-4919-9E01-FB39FDAC0BF6}" type="presOf" srcId="{BD6F3484-16A8-41C6-9539-14368A403B75}" destId="{5CD2FA7D-328D-4EF7-B6A3-2AB11320097B}" srcOrd="0" destOrd="0" presId="urn:microsoft.com/office/officeart/2005/8/layout/cycle6"/>
    <dgm:cxn modelId="{C5A02DEE-03B4-4606-B52F-D987DCAF06F0}" type="presOf" srcId="{1771EABB-CA51-4F05-ABC4-EDF59245C84F}" destId="{7107BC3D-E291-4D6B-997A-58BE71EC00FE}" srcOrd="0" destOrd="0" presId="urn:microsoft.com/office/officeart/2005/8/layout/cycle6"/>
    <dgm:cxn modelId="{45059DCD-0076-4683-834A-D6798F856C28}" type="presParOf" srcId="{40C96553-284E-44B6-9367-F204A63E2DE6}" destId="{B482DA80-51EC-45B9-84BE-90C49C8AD096}" srcOrd="0" destOrd="0" presId="urn:microsoft.com/office/officeart/2005/8/layout/cycle6"/>
    <dgm:cxn modelId="{82B9EB5E-616F-46AA-83B9-12774A1015C5}" type="presParOf" srcId="{40C96553-284E-44B6-9367-F204A63E2DE6}" destId="{09D3B00A-C832-46B0-A27A-4867A11A6879}" srcOrd="1" destOrd="0" presId="urn:microsoft.com/office/officeart/2005/8/layout/cycle6"/>
    <dgm:cxn modelId="{BF43A932-FA77-4347-ACFA-077D3B77641A}" type="presParOf" srcId="{40C96553-284E-44B6-9367-F204A63E2DE6}" destId="{9DC2EF8D-6BE3-4FAF-AA5F-9B0A0222C406}" srcOrd="2" destOrd="0" presId="urn:microsoft.com/office/officeart/2005/8/layout/cycle6"/>
    <dgm:cxn modelId="{89A0BB53-3EB2-40E6-A903-1A9C0B94E0B8}" type="presParOf" srcId="{40C96553-284E-44B6-9367-F204A63E2DE6}" destId="{9C49E872-D197-4B61-8A58-136C4AD0D6BD}" srcOrd="3" destOrd="0" presId="urn:microsoft.com/office/officeart/2005/8/layout/cycle6"/>
    <dgm:cxn modelId="{BF2D4ABA-D6F0-40AD-BF7E-06DB54AC2488}" type="presParOf" srcId="{40C96553-284E-44B6-9367-F204A63E2DE6}" destId="{B138C301-AE9C-4154-8077-EAA965DD962F}" srcOrd="4" destOrd="0" presId="urn:microsoft.com/office/officeart/2005/8/layout/cycle6"/>
    <dgm:cxn modelId="{0C15A599-E6E7-4D9E-8900-9C98FF178577}" type="presParOf" srcId="{40C96553-284E-44B6-9367-F204A63E2DE6}" destId="{5F631634-E3F0-4E98-A366-F6C12F29C29A}" srcOrd="5" destOrd="0" presId="urn:microsoft.com/office/officeart/2005/8/layout/cycle6"/>
    <dgm:cxn modelId="{D950991A-18D2-41D9-B0FD-4C5D5A544ADD}" type="presParOf" srcId="{40C96553-284E-44B6-9367-F204A63E2DE6}" destId="{0128B409-C85E-4D22-B6EE-853FF04D0F3B}" srcOrd="6" destOrd="0" presId="urn:microsoft.com/office/officeart/2005/8/layout/cycle6"/>
    <dgm:cxn modelId="{AE1AA0A9-E149-4917-98C8-66BB9200226F}" type="presParOf" srcId="{40C96553-284E-44B6-9367-F204A63E2DE6}" destId="{E79D58AC-D190-4FE3-9E8C-378472CF6C7F}" srcOrd="7" destOrd="0" presId="urn:microsoft.com/office/officeart/2005/8/layout/cycle6"/>
    <dgm:cxn modelId="{7C3A64AF-3354-489D-969F-C749B08AD1B3}" type="presParOf" srcId="{40C96553-284E-44B6-9367-F204A63E2DE6}" destId="{B9C57425-FAB0-4336-AC12-3322DB44AFA4}" srcOrd="8" destOrd="0" presId="urn:microsoft.com/office/officeart/2005/8/layout/cycle6"/>
    <dgm:cxn modelId="{CEA42E0D-089B-44CE-8392-77FF3597585F}" type="presParOf" srcId="{40C96553-284E-44B6-9367-F204A63E2DE6}" destId="{CE1DDB43-68A2-4889-9E8F-B0F81C2C5E00}" srcOrd="9" destOrd="0" presId="urn:microsoft.com/office/officeart/2005/8/layout/cycle6"/>
    <dgm:cxn modelId="{F08115BC-2234-43DE-9FBB-220F1C546E93}" type="presParOf" srcId="{40C96553-284E-44B6-9367-F204A63E2DE6}" destId="{4EA46F25-6927-404C-9DC6-F435B29A0095}" srcOrd="10" destOrd="0" presId="urn:microsoft.com/office/officeart/2005/8/layout/cycle6"/>
    <dgm:cxn modelId="{95BEB806-F590-4FF0-A735-7694EB320B64}" type="presParOf" srcId="{40C96553-284E-44B6-9367-F204A63E2DE6}" destId="{51919951-C1BF-4AA5-A0A1-7CCB098650B6}" srcOrd="11" destOrd="0" presId="urn:microsoft.com/office/officeart/2005/8/layout/cycle6"/>
    <dgm:cxn modelId="{0FB595FE-7E5D-483A-845F-EC14E8BF963C}" type="presParOf" srcId="{40C96553-284E-44B6-9367-F204A63E2DE6}" destId="{7107BC3D-E291-4D6B-997A-58BE71EC00FE}" srcOrd="12" destOrd="0" presId="urn:microsoft.com/office/officeart/2005/8/layout/cycle6"/>
    <dgm:cxn modelId="{92BF07BC-4811-4117-BDD5-7108F0960B56}" type="presParOf" srcId="{40C96553-284E-44B6-9367-F204A63E2DE6}" destId="{6405EBA9-7166-4D27-82A1-BA94AB7C4C96}" srcOrd="13" destOrd="0" presId="urn:microsoft.com/office/officeart/2005/8/layout/cycle6"/>
    <dgm:cxn modelId="{C02C6BEE-EE2A-41A5-9A58-24B0F118996F}" type="presParOf" srcId="{40C96553-284E-44B6-9367-F204A63E2DE6}" destId="{EDB84C79-22A1-4FEC-B821-E94C8D235680}" srcOrd="14" destOrd="0" presId="urn:microsoft.com/office/officeart/2005/8/layout/cycle6"/>
    <dgm:cxn modelId="{6DE760BF-35A3-44A2-A79E-479F82C8FC4A}" type="presParOf" srcId="{40C96553-284E-44B6-9367-F204A63E2DE6}" destId="{E4645F58-E25A-40CE-90DE-4A787FC23356}" srcOrd="15" destOrd="0" presId="urn:microsoft.com/office/officeart/2005/8/layout/cycle6"/>
    <dgm:cxn modelId="{4505D0E0-CAA7-4BF1-B260-49409AC76096}" type="presParOf" srcId="{40C96553-284E-44B6-9367-F204A63E2DE6}" destId="{44A0579E-957D-479D-BE8C-4971B24D8C4C}" srcOrd="16" destOrd="0" presId="urn:microsoft.com/office/officeart/2005/8/layout/cycle6"/>
    <dgm:cxn modelId="{68B1FA8C-4D0F-4C19-AAB8-861D1CB39DD2}" type="presParOf" srcId="{40C96553-284E-44B6-9367-F204A63E2DE6}" destId="{DC6CD9BB-6173-476D-B7E5-430CD1C20B2F}" srcOrd="17" destOrd="0" presId="urn:microsoft.com/office/officeart/2005/8/layout/cycle6"/>
    <dgm:cxn modelId="{27012B03-A271-4514-AA32-6056342D90A5}" type="presParOf" srcId="{40C96553-284E-44B6-9367-F204A63E2DE6}" destId="{5CD2FA7D-328D-4EF7-B6A3-2AB11320097B}" srcOrd="18" destOrd="0" presId="urn:microsoft.com/office/officeart/2005/8/layout/cycle6"/>
    <dgm:cxn modelId="{34B309D7-38C6-47A3-9000-DDD93AC56387}" type="presParOf" srcId="{40C96553-284E-44B6-9367-F204A63E2DE6}" destId="{E23E6656-F13D-4A12-8456-529FDD78AD75}" srcOrd="19" destOrd="0" presId="urn:microsoft.com/office/officeart/2005/8/layout/cycle6"/>
    <dgm:cxn modelId="{A2645B66-E170-49AD-A7B4-8C6A844D7296}" type="presParOf" srcId="{40C96553-284E-44B6-9367-F204A63E2DE6}" destId="{E75E76DD-1C6D-42DD-992B-219B98B7CE30}" srcOrd="20" destOrd="0" presId="urn:microsoft.com/office/officeart/2005/8/layout/cycle6"/>
    <dgm:cxn modelId="{98C03F8F-B43D-44F2-A19E-205FCAD818B0}" type="presParOf" srcId="{40C96553-284E-44B6-9367-F204A63E2DE6}" destId="{85EE52B4-AF43-4982-BEDA-233FFC9726C4}" srcOrd="21" destOrd="0" presId="urn:microsoft.com/office/officeart/2005/8/layout/cycle6"/>
    <dgm:cxn modelId="{D8DFECF1-AE3B-4A29-9B62-6A0A4BB2373A}" type="presParOf" srcId="{40C96553-284E-44B6-9367-F204A63E2DE6}" destId="{FF569DA7-7C34-4895-9CA5-5801490A676F}" srcOrd="22" destOrd="0" presId="urn:microsoft.com/office/officeart/2005/8/layout/cycle6"/>
    <dgm:cxn modelId="{5B02E302-494E-48D8-85E9-80535B968431}" type="presParOf" srcId="{40C96553-284E-44B6-9367-F204A63E2DE6}" destId="{EED813DF-4BE7-46A8-BCCB-57EF9B6C306F}" srcOrd="23" destOrd="0" presId="urn:microsoft.com/office/officeart/2005/8/layout/cycle6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F010CF21-4A6D-44EF-A02C-3D5169816247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#1" csCatId="colorful" phldr="1"/>
      <dgm:spPr/>
      <dgm:t>
        <a:bodyPr/>
        <a:lstStyle/>
        <a:p>
          <a:endParaRPr lang="fr-FR"/>
        </a:p>
      </dgm:t>
    </dgm:pt>
    <dgm:pt modelId="{59788018-3182-43A3-8988-94BE0745A02A}">
      <dgm:prSet phldrT="[Texte]" custT="1"/>
      <dgm:spPr/>
      <dgm:t>
        <a:bodyPr/>
        <a:lstStyle/>
        <a:p>
          <a:r>
            <a:rPr lang="fr-FR" sz="2000" dirty="0"/>
            <a:t>Rapport moral du Président : bilan et projet 2021-2024</a:t>
          </a:r>
        </a:p>
      </dgm:t>
    </dgm:pt>
    <dgm:pt modelId="{0F449731-D9A8-453B-9CCE-25DFB8DF4287}" type="parTrans" cxnId="{127426EF-8ACA-4C2A-9DCA-089579810FA4}">
      <dgm:prSet/>
      <dgm:spPr/>
      <dgm:t>
        <a:bodyPr/>
        <a:lstStyle/>
        <a:p>
          <a:endParaRPr lang="fr-FR" sz="1400"/>
        </a:p>
      </dgm:t>
    </dgm:pt>
    <dgm:pt modelId="{F562CD0B-E8EB-4DBC-82FD-4F9ECF32E366}" type="sibTrans" cxnId="{127426EF-8ACA-4C2A-9DCA-089579810FA4}">
      <dgm:prSet/>
      <dgm:spPr/>
      <dgm:t>
        <a:bodyPr/>
        <a:lstStyle/>
        <a:p>
          <a:endParaRPr lang="fr-FR" sz="1400"/>
        </a:p>
      </dgm:t>
    </dgm:pt>
    <dgm:pt modelId="{B9A48CF8-D428-45D1-8969-FBBF15BE7DBA}">
      <dgm:prSet custT="1"/>
      <dgm:spPr/>
      <dgm:t>
        <a:bodyPr/>
        <a:lstStyle/>
        <a:p>
          <a:r>
            <a:rPr lang="fr-FR" sz="2000" dirty="0"/>
            <a:t>Rapport financier de l’année 2020-2021</a:t>
          </a:r>
        </a:p>
      </dgm:t>
    </dgm:pt>
    <dgm:pt modelId="{A0CD69F9-CCD9-494F-8BAA-E371C16384F0}" type="parTrans" cxnId="{526ECF28-3CAD-4D93-A271-BA130FC38A40}">
      <dgm:prSet/>
      <dgm:spPr/>
      <dgm:t>
        <a:bodyPr/>
        <a:lstStyle/>
        <a:p>
          <a:endParaRPr lang="fr-FR"/>
        </a:p>
      </dgm:t>
    </dgm:pt>
    <dgm:pt modelId="{51D165D4-3F2F-4577-B999-E3D44DF8CE25}" type="sibTrans" cxnId="{526ECF28-3CAD-4D93-A271-BA130FC38A40}">
      <dgm:prSet/>
      <dgm:spPr/>
      <dgm:t>
        <a:bodyPr/>
        <a:lstStyle/>
        <a:p>
          <a:endParaRPr lang="fr-FR"/>
        </a:p>
      </dgm:t>
    </dgm:pt>
    <dgm:pt modelId="{2950704D-F612-46DF-93DB-38562274CE0A}">
      <dgm:prSet custT="1"/>
      <dgm:spPr/>
      <dgm:t>
        <a:bodyPr/>
        <a:lstStyle/>
        <a:p>
          <a:r>
            <a:rPr lang="fr-FR" sz="2000" dirty="0"/>
            <a:t>Élections au Conseil d’Administration </a:t>
          </a:r>
        </a:p>
      </dgm:t>
    </dgm:pt>
    <dgm:pt modelId="{987F1677-1426-4E16-870E-56D0BC663F9B}" type="parTrans" cxnId="{75BC15D3-E58B-4B5A-AEB7-3CE02EFD8705}">
      <dgm:prSet/>
      <dgm:spPr/>
      <dgm:t>
        <a:bodyPr/>
        <a:lstStyle/>
        <a:p>
          <a:endParaRPr lang="fr-FR"/>
        </a:p>
      </dgm:t>
    </dgm:pt>
    <dgm:pt modelId="{83820126-CD9B-4B36-913F-47587C72FAFD}" type="sibTrans" cxnId="{75BC15D3-E58B-4B5A-AEB7-3CE02EFD8705}">
      <dgm:prSet/>
      <dgm:spPr/>
      <dgm:t>
        <a:bodyPr/>
        <a:lstStyle/>
        <a:p>
          <a:endParaRPr lang="fr-FR"/>
        </a:p>
      </dgm:t>
    </dgm:pt>
    <dgm:pt modelId="{445F633E-575C-4AF5-92DD-A71CC7C927A2}">
      <dgm:prSet custT="1"/>
      <dgm:spPr/>
      <dgm:t>
        <a:bodyPr/>
        <a:lstStyle/>
        <a:p>
          <a:r>
            <a:rPr lang="fr-FR" sz="2000" dirty="0"/>
            <a:t>Budget de l’année 2021-2022</a:t>
          </a:r>
        </a:p>
      </dgm:t>
    </dgm:pt>
    <dgm:pt modelId="{78170A6E-C864-4525-99F0-764BDD069F7D}" type="parTrans" cxnId="{10C8B034-59B8-4A7B-BB37-6397972DA53F}">
      <dgm:prSet/>
      <dgm:spPr/>
      <dgm:t>
        <a:bodyPr/>
        <a:lstStyle/>
        <a:p>
          <a:endParaRPr lang="fr-FR"/>
        </a:p>
      </dgm:t>
    </dgm:pt>
    <dgm:pt modelId="{6DCA3502-1D36-4058-961B-A2DA94F7B6BD}" type="sibTrans" cxnId="{10C8B034-59B8-4A7B-BB37-6397972DA53F}">
      <dgm:prSet/>
      <dgm:spPr/>
      <dgm:t>
        <a:bodyPr/>
        <a:lstStyle/>
        <a:p>
          <a:endParaRPr lang="fr-FR"/>
        </a:p>
      </dgm:t>
    </dgm:pt>
    <dgm:pt modelId="{414797EB-74B4-4291-AF3E-06BCA64CF6B6}">
      <dgm:prSet custT="1"/>
      <dgm:spPr/>
      <dgm:t>
        <a:bodyPr/>
        <a:lstStyle/>
        <a:p>
          <a:r>
            <a:rPr lang="fr-FR" sz="2000" dirty="0"/>
            <a:t>Questions diverses</a:t>
          </a:r>
        </a:p>
      </dgm:t>
    </dgm:pt>
    <dgm:pt modelId="{D9EEC982-6F8E-415B-9E6B-101927331BD8}" type="parTrans" cxnId="{0281512C-E79C-4333-9D56-2A66E949228F}">
      <dgm:prSet/>
      <dgm:spPr/>
      <dgm:t>
        <a:bodyPr/>
        <a:lstStyle/>
        <a:p>
          <a:endParaRPr lang="fr-FR"/>
        </a:p>
      </dgm:t>
    </dgm:pt>
    <dgm:pt modelId="{3124CA87-5240-449D-93B8-646AA320F84C}" type="sibTrans" cxnId="{0281512C-E79C-4333-9D56-2A66E949228F}">
      <dgm:prSet/>
      <dgm:spPr/>
      <dgm:t>
        <a:bodyPr/>
        <a:lstStyle/>
        <a:p>
          <a:endParaRPr lang="fr-FR"/>
        </a:p>
      </dgm:t>
    </dgm:pt>
    <dgm:pt modelId="{08449366-2565-4365-85A6-6FD21C00BC0F}" type="pres">
      <dgm:prSet presAssocID="{F010CF21-4A6D-44EF-A02C-3D5169816247}" presName="Name0" presStyleCnt="0">
        <dgm:presLayoutVars>
          <dgm:chMax val="7"/>
          <dgm:chPref val="7"/>
          <dgm:dir/>
        </dgm:presLayoutVars>
      </dgm:prSet>
      <dgm:spPr/>
    </dgm:pt>
    <dgm:pt modelId="{43AFC4E7-46DA-4B7B-B201-0A406A05CAD2}" type="pres">
      <dgm:prSet presAssocID="{F010CF21-4A6D-44EF-A02C-3D5169816247}" presName="Name1" presStyleCnt="0"/>
      <dgm:spPr/>
    </dgm:pt>
    <dgm:pt modelId="{C89A3969-C068-41DF-977E-ED5F7B6D0CE6}" type="pres">
      <dgm:prSet presAssocID="{F010CF21-4A6D-44EF-A02C-3D5169816247}" presName="cycle" presStyleCnt="0"/>
      <dgm:spPr/>
    </dgm:pt>
    <dgm:pt modelId="{36B09AF6-20B6-459B-86E4-BA1ECCD29B61}" type="pres">
      <dgm:prSet presAssocID="{F010CF21-4A6D-44EF-A02C-3D5169816247}" presName="srcNode" presStyleLbl="node1" presStyleIdx="0" presStyleCnt="5"/>
      <dgm:spPr/>
    </dgm:pt>
    <dgm:pt modelId="{6940BDDF-1FEF-41BF-B9E9-0FFE3926A970}" type="pres">
      <dgm:prSet presAssocID="{F010CF21-4A6D-44EF-A02C-3D5169816247}" presName="conn" presStyleLbl="parChTrans1D2" presStyleIdx="0" presStyleCnt="1"/>
      <dgm:spPr/>
    </dgm:pt>
    <dgm:pt modelId="{CF948C64-B606-46D3-AF0E-5C95CC7F1D42}" type="pres">
      <dgm:prSet presAssocID="{F010CF21-4A6D-44EF-A02C-3D5169816247}" presName="extraNode" presStyleLbl="node1" presStyleIdx="0" presStyleCnt="5"/>
      <dgm:spPr/>
    </dgm:pt>
    <dgm:pt modelId="{4485BF69-EF87-4AEE-AFDF-DE2F8D2ACCD9}" type="pres">
      <dgm:prSet presAssocID="{F010CF21-4A6D-44EF-A02C-3D5169816247}" presName="dstNode" presStyleLbl="node1" presStyleIdx="0" presStyleCnt="5"/>
      <dgm:spPr/>
    </dgm:pt>
    <dgm:pt modelId="{54C74578-773C-4297-A4DE-1398F67BB91C}" type="pres">
      <dgm:prSet presAssocID="{59788018-3182-43A3-8988-94BE0745A02A}" presName="text_1" presStyleLbl="node1" presStyleIdx="0" presStyleCnt="5" custLinFactNeighborY="4204">
        <dgm:presLayoutVars>
          <dgm:bulletEnabled val="1"/>
        </dgm:presLayoutVars>
      </dgm:prSet>
      <dgm:spPr/>
    </dgm:pt>
    <dgm:pt modelId="{10D97C5B-BA88-4603-BEB8-816B9E26E1E0}" type="pres">
      <dgm:prSet presAssocID="{59788018-3182-43A3-8988-94BE0745A02A}" presName="accent_1" presStyleCnt="0"/>
      <dgm:spPr/>
    </dgm:pt>
    <dgm:pt modelId="{EBBCF617-4DDB-47D0-98C7-99413FA904B7}" type="pres">
      <dgm:prSet presAssocID="{59788018-3182-43A3-8988-94BE0745A02A}" presName="accentRepeatNode" presStyleLbl="solidFgAcc1" presStyleIdx="0" presStyleCnt="5"/>
      <dgm:spPr/>
    </dgm:pt>
    <dgm:pt modelId="{38266B62-763B-47EE-941B-BD512A93B9FC}" type="pres">
      <dgm:prSet presAssocID="{B9A48CF8-D428-45D1-8969-FBBF15BE7DBA}" presName="text_2" presStyleLbl="node1" presStyleIdx="1" presStyleCnt="5">
        <dgm:presLayoutVars>
          <dgm:bulletEnabled val="1"/>
        </dgm:presLayoutVars>
      </dgm:prSet>
      <dgm:spPr/>
    </dgm:pt>
    <dgm:pt modelId="{367B11EA-E5C1-4DED-8822-EE706D7B3490}" type="pres">
      <dgm:prSet presAssocID="{B9A48CF8-D428-45D1-8969-FBBF15BE7DBA}" presName="accent_2" presStyleCnt="0"/>
      <dgm:spPr/>
    </dgm:pt>
    <dgm:pt modelId="{7A113706-4115-4E46-A0DB-BB2E4C947383}" type="pres">
      <dgm:prSet presAssocID="{B9A48CF8-D428-45D1-8969-FBBF15BE7DBA}" presName="accentRepeatNode" presStyleLbl="solidFgAcc1" presStyleIdx="1" presStyleCnt="5"/>
      <dgm:spPr/>
    </dgm:pt>
    <dgm:pt modelId="{C44906E9-3C2F-4CD0-B0C9-498EF34769BF}" type="pres">
      <dgm:prSet presAssocID="{2950704D-F612-46DF-93DB-38562274CE0A}" presName="text_3" presStyleLbl="node1" presStyleIdx="2" presStyleCnt="5">
        <dgm:presLayoutVars>
          <dgm:bulletEnabled val="1"/>
        </dgm:presLayoutVars>
      </dgm:prSet>
      <dgm:spPr/>
    </dgm:pt>
    <dgm:pt modelId="{99431DD1-4D5B-4288-A4D7-5DDCAA9317FA}" type="pres">
      <dgm:prSet presAssocID="{2950704D-F612-46DF-93DB-38562274CE0A}" presName="accent_3" presStyleCnt="0"/>
      <dgm:spPr/>
    </dgm:pt>
    <dgm:pt modelId="{0692BF8D-B063-4580-8A2D-225A14481CCD}" type="pres">
      <dgm:prSet presAssocID="{2950704D-F612-46DF-93DB-38562274CE0A}" presName="accentRepeatNode" presStyleLbl="solidFgAcc1" presStyleIdx="2" presStyleCnt="5"/>
      <dgm:spPr/>
    </dgm:pt>
    <dgm:pt modelId="{985C842E-3771-4A21-BC8F-6664E8E4209A}" type="pres">
      <dgm:prSet presAssocID="{445F633E-575C-4AF5-92DD-A71CC7C927A2}" presName="text_4" presStyleLbl="node1" presStyleIdx="3" presStyleCnt="5">
        <dgm:presLayoutVars>
          <dgm:bulletEnabled val="1"/>
        </dgm:presLayoutVars>
      </dgm:prSet>
      <dgm:spPr/>
    </dgm:pt>
    <dgm:pt modelId="{9DF189B9-2AF4-4537-8488-D9604CD8D7C6}" type="pres">
      <dgm:prSet presAssocID="{445F633E-575C-4AF5-92DD-A71CC7C927A2}" presName="accent_4" presStyleCnt="0"/>
      <dgm:spPr/>
    </dgm:pt>
    <dgm:pt modelId="{1CAC461D-769E-43F1-85D8-A86E37EE9368}" type="pres">
      <dgm:prSet presAssocID="{445F633E-575C-4AF5-92DD-A71CC7C927A2}" presName="accentRepeatNode" presStyleLbl="solidFgAcc1" presStyleIdx="3" presStyleCnt="5"/>
      <dgm:spPr/>
    </dgm:pt>
    <dgm:pt modelId="{E94408CD-EF85-4774-BA53-A3DB7D3C1F4C}" type="pres">
      <dgm:prSet presAssocID="{414797EB-74B4-4291-AF3E-06BCA64CF6B6}" presName="text_5" presStyleLbl="node1" presStyleIdx="4" presStyleCnt="5">
        <dgm:presLayoutVars>
          <dgm:bulletEnabled val="1"/>
        </dgm:presLayoutVars>
      </dgm:prSet>
      <dgm:spPr/>
    </dgm:pt>
    <dgm:pt modelId="{084B543F-777C-44B7-8089-181F52D7D6B4}" type="pres">
      <dgm:prSet presAssocID="{414797EB-74B4-4291-AF3E-06BCA64CF6B6}" presName="accent_5" presStyleCnt="0"/>
      <dgm:spPr/>
    </dgm:pt>
    <dgm:pt modelId="{5AF5E7EE-A04D-40FC-8300-CF20EEE80831}" type="pres">
      <dgm:prSet presAssocID="{414797EB-74B4-4291-AF3E-06BCA64CF6B6}" presName="accentRepeatNode" presStyleLbl="solidFgAcc1" presStyleIdx="4" presStyleCnt="5"/>
      <dgm:spPr/>
    </dgm:pt>
  </dgm:ptLst>
  <dgm:cxnLst>
    <dgm:cxn modelId="{241DD71D-5288-427D-8977-3C2125195ABF}" type="presOf" srcId="{2950704D-F612-46DF-93DB-38562274CE0A}" destId="{C44906E9-3C2F-4CD0-B0C9-498EF34769BF}" srcOrd="0" destOrd="0" presId="urn:microsoft.com/office/officeart/2008/layout/VerticalCurvedList"/>
    <dgm:cxn modelId="{526ECF28-3CAD-4D93-A271-BA130FC38A40}" srcId="{F010CF21-4A6D-44EF-A02C-3D5169816247}" destId="{B9A48CF8-D428-45D1-8969-FBBF15BE7DBA}" srcOrd="1" destOrd="0" parTransId="{A0CD69F9-CCD9-494F-8BAA-E371C16384F0}" sibTransId="{51D165D4-3F2F-4577-B999-E3D44DF8CE25}"/>
    <dgm:cxn modelId="{0281512C-E79C-4333-9D56-2A66E949228F}" srcId="{F010CF21-4A6D-44EF-A02C-3D5169816247}" destId="{414797EB-74B4-4291-AF3E-06BCA64CF6B6}" srcOrd="4" destOrd="0" parTransId="{D9EEC982-6F8E-415B-9E6B-101927331BD8}" sibTransId="{3124CA87-5240-449D-93B8-646AA320F84C}"/>
    <dgm:cxn modelId="{10C8B034-59B8-4A7B-BB37-6397972DA53F}" srcId="{F010CF21-4A6D-44EF-A02C-3D5169816247}" destId="{445F633E-575C-4AF5-92DD-A71CC7C927A2}" srcOrd="3" destOrd="0" parTransId="{78170A6E-C864-4525-99F0-764BDD069F7D}" sibTransId="{6DCA3502-1D36-4058-961B-A2DA94F7B6BD}"/>
    <dgm:cxn modelId="{6E4F5F35-0D7E-4E4D-AA5C-4E66D655145A}" type="presOf" srcId="{59788018-3182-43A3-8988-94BE0745A02A}" destId="{54C74578-773C-4297-A4DE-1398F67BB91C}" srcOrd="0" destOrd="0" presId="urn:microsoft.com/office/officeart/2008/layout/VerticalCurvedList"/>
    <dgm:cxn modelId="{D6801738-0EB3-407B-AD75-D97DFCA32239}" type="presOf" srcId="{445F633E-575C-4AF5-92DD-A71CC7C927A2}" destId="{985C842E-3771-4A21-BC8F-6664E8E4209A}" srcOrd="0" destOrd="0" presId="urn:microsoft.com/office/officeart/2008/layout/VerticalCurvedList"/>
    <dgm:cxn modelId="{2E88A469-91F1-4756-A449-0C6B21CED5FB}" type="presOf" srcId="{414797EB-74B4-4291-AF3E-06BCA64CF6B6}" destId="{E94408CD-EF85-4774-BA53-A3DB7D3C1F4C}" srcOrd="0" destOrd="0" presId="urn:microsoft.com/office/officeart/2008/layout/VerticalCurvedList"/>
    <dgm:cxn modelId="{47274B98-A3F8-B44A-8BC9-F42C0F4148D8}" type="presOf" srcId="{F010CF21-4A6D-44EF-A02C-3D5169816247}" destId="{08449366-2565-4365-85A6-6FD21C00BC0F}" srcOrd="0" destOrd="0" presId="urn:microsoft.com/office/officeart/2008/layout/VerticalCurvedList"/>
    <dgm:cxn modelId="{2BBCFF9A-EEFC-44B4-BC2D-134082FEEEF5}" type="presOf" srcId="{B9A48CF8-D428-45D1-8969-FBBF15BE7DBA}" destId="{38266B62-763B-47EE-941B-BD512A93B9FC}" srcOrd="0" destOrd="0" presId="urn:microsoft.com/office/officeart/2008/layout/VerticalCurvedList"/>
    <dgm:cxn modelId="{75BC15D3-E58B-4B5A-AEB7-3CE02EFD8705}" srcId="{F010CF21-4A6D-44EF-A02C-3D5169816247}" destId="{2950704D-F612-46DF-93DB-38562274CE0A}" srcOrd="2" destOrd="0" parTransId="{987F1677-1426-4E16-870E-56D0BC663F9B}" sibTransId="{83820126-CD9B-4B36-913F-47587C72FAFD}"/>
    <dgm:cxn modelId="{127426EF-8ACA-4C2A-9DCA-089579810FA4}" srcId="{F010CF21-4A6D-44EF-A02C-3D5169816247}" destId="{59788018-3182-43A3-8988-94BE0745A02A}" srcOrd="0" destOrd="0" parTransId="{0F449731-D9A8-453B-9CCE-25DFB8DF4287}" sibTransId="{F562CD0B-E8EB-4DBC-82FD-4F9ECF32E366}"/>
    <dgm:cxn modelId="{4BA219F5-DF5C-4A5A-8AD1-3305123A52BE}" type="presOf" srcId="{F562CD0B-E8EB-4DBC-82FD-4F9ECF32E366}" destId="{6940BDDF-1FEF-41BF-B9E9-0FFE3926A970}" srcOrd="0" destOrd="0" presId="urn:microsoft.com/office/officeart/2008/layout/VerticalCurvedList"/>
    <dgm:cxn modelId="{F061383E-55BE-644A-A054-B1BF76BC8A37}" type="presParOf" srcId="{08449366-2565-4365-85A6-6FD21C00BC0F}" destId="{43AFC4E7-46DA-4B7B-B201-0A406A05CAD2}" srcOrd="0" destOrd="0" presId="urn:microsoft.com/office/officeart/2008/layout/VerticalCurvedList"/>
    <dgm:cxn modelId="{6FF298EC-3580-F74F-90AB-72DC7E516CCF}" type="presParOf" srcId="{43AFC4E7-46DA-4B7B-B201-0A406A05CAD2}" destId="{C89A3969-C068-41DF-977E-ED5F7B6D0CE6}" srcOrd="0" destOrd="0" presId="urn:microsoft.com/office/officeart/2008/layout/VerticalCurvedList"/>
    <dgm:cxn modelId="{6729A3F8-BF06-514A-A444-B514AEEB00A8}" type="presParOf" srcId="{C89A3969-C068-41DF-977E-ED5F7B6D0CE6}" destId="{36B09AF6-20B6-459B-86E4-BA1ECCD29B61}" srcOrd="0" destOrd="0" presId="urn:microsoft.com/office/officeart/2008/layout/VerticalCurvedList"/>
    <dgm:cxn modelId="{6C2E9B69-AF8F-0148-8C74-F9F8288240F7}" type="presParOf" srcId="{C89A3969-C068-41DF-977E-ED5F7B6D0CE6}" destId="{6940BDDF-1FEF-41BF-B9E9-0FFE3926A970}" srcOrd="1" destOrd="0" presId="urn:microsoft.com/office/officeart/2008/layout/VerticalCurvedList"/>
    <dgm:cxn modelId="{D58DB0B2-11A2-5844-A5D6-88E4BC01A3D0}" type="presParOf" srcId="{C89A3969-C068-41DF-977E-ED5F7B6D0CE6}" destId="{CF948C64-B606-46D3-AF0E-5C95CC7F1D42}" srcOrd="2" destOrd="0" presId="urn:microsoft.com/office/officeart/2008/layout/VerticalCurvedList"/>
    <dgm:cxn modelId="{10696313-D083-2948-A140-15A5E3037090}" type="presParOf" srcId="{C89A3969-C068-41DF-977E-ED5F7B6D0CE6}" destId="{4485BF69-EF87-4AEE-AFDF-DE2F8D2ACCD9}" srcOrd="3" destOrd="0" presId="urn:microsoft.com/office/officeart/2008/layout/VerticalCurvedList"/>
    <dgm:cxn modelId="{3EED48A1-A558-C845-AADB-967072A92846}" type="presParOf" srcId="{43AFC4E7-46DA-4B7B-B201-0A406A05CAD2}" destId="{54C74578-773C-4297-A4DE-1398F67BB91C}" srcOrd="1" destOrd="0" presId="urn:microsoft.com/office/officeart/2008/layout/VerticalCurvedList"/>
    <dgm:cxn modelId="{482CF146-0D09-4849-B4E1-DC9831F36C1D}" type="presParOf" srcId="{43AFC4E7-46DA-4B7B-B201-0A406A05CAD2}" destId="{10D97C5B-BA88-4603-BEB8-816B9E26E1E0}" srcOrd="2" destOrd="0" presId="urn:microsoft.com/office/officeart/2008/layout/VerticalCurvedList"/>
    <dgm:cxn modelId="{76B9516D-0F20-FC4F-9CC0-824395ED95BC}" type="presParOf" srcId="{10D97C5B-BA88-4603-BEB8-816B9E26E1E0}" destId="{EBBCF617-4DDB-47D0-98C7-99413FA904B7}" srcOrd="0" destOrd="0" presId="urn:microsoft.com/office/officeart/2008/layout/VerticalCurvedList"/>
    <dgm:cxn modelId="{4EBF105E-81B6-4CB9-A83D-BADB4A1F3F6B}" type="presParOf" srcId="{43AFC4E7-46DA-4B7B-B201-0A406A05CAD2}" destId="{38266B62-763B-47EE-941B-BD512A93B9FC}" srcOrd="3" destOrd="0" presId="urn:microsoft.com/office/officeart/2008/layout/VerticalCurvedList"/>
    <dgm:cxn modelId="{ED363BF9-440F-435E-962C-A9C35F49A344}" type="presParOf" srcId="{43AFC4E7-46DA-4B7B-B201-0A406A05CAD2}" destId="{367B11EA-E5C1-4DED-8822-EE706D7B3490}" srcOrd="4" destOrd="0" presId="urn:microsoft.com/office/officeart/2008/layout/VerticalCurvedList"/>
    <dgm:cxn modelId="{3B005B22-F7CF-4BF5-9BB2-3FDAE20603B7}" type="presParOf" srcId="{367B11EA-E5C1-4DED-8822-EE706D7B3490}" destId="{7A113706-4115-4E46-A0DB-BB2E4C947383}" srcOrd="0" destOrd="0" presId="urn:microsoft.com/office/officeart/2008/layout/VerticalCurvedList"/>
    <dgm:cxn modelId="{B386FED0-5C5D-4D92-B6E3-ACD3BEC12D80}" type="presParOf" srcId="{43AFC4E7-46DA-4B7B-B201-0A406A05CAD2}" destId="{C44906E9-3C2F-4CD0-B0C9-498EF34769BF}" srcOrd="5" destOrd="0" presId="urn:microsoft.com/office/officeart/2008/layout/VerticalCurvedList"/>
    <dgm:cxn modelId="{DFEAE827-D2D2-42C0-98C4-B000CAB27FA2}" type="presParOf" srcId="{43AFC4E7-46DA-4B7B-B201-0A406A05CAD2}" destId="{99431DD1-4D5B-4288-A4D7-5DDCAA9317FA}" srcOrd="6" destOrd="0" presId="urn:microsoft.com/office/officeart/2008/layout/VerticalCurvedList"/>
    <dgm:cxn modelId="{06B8C854-316E-4EB4-BB52-E05E356F9592}" type="presParOf" srcId="{99431DD1-4D5B-4288-A4D7-5DDCAA9317FA}" destId="{0692BF8D-B063-4580-8A2D-225A14481CCD}" srcOrd="0" destOrd="0" presId="urn:microsoft.com/office/officeart/2008/layout/VerticalCurvedList"/>
    <dgm:cxn modelId="{881BBE41-FEDF-45D1-AD76-115D6A351C41}" type="presParOf" srcId="{43AFC4E7-46DA-4B7B-B201-0A406A05CAD2}" destId="{985C842E-3771-4A21-BC8F-6664E8E4209A}" srcOrd="7" destOrd="0" presId="urn:microsoft.com/office/officeart/2008/layout/VerticalCurvedList"/>
    <dgm:cxn modelId="{E9181451-AE84-4879-8081-53EEDAD249C1}" type="presParOf" srcId="{43AFC4E7-46DA-4B7B-B201-0A406A05CAD2}" destId="{9DF189B9-2AF4-4537-8488-D9604CD8D7C6}" srcOrd="8" destOrd="0" presId="urn:microsoft.com/office/officeart/2008/layout/VerticalCurvedList"/>
    <dgm:cxn modelId="{675284D5-7F6B-4E16-9B16-3416C5C07E60}" type="presParOf" srcId="{9DF189B9-2AF4-4537-8488-D9604CD8D7C6}" destId="{1CAC461D-769E-43F1-85D8-A86E37EE9368}" srcOrd="0" destOrd="0" presId="urn:microsoft.com/office/officeart/2008/layout/VerticalCurvedList"/>
    <dgm:cxn modelId="{0916922B-2E54-4986-9739-4D5C363FCDE6}" type="presParOf" srcId="{43AFC4E7-46DA-4B7B-B201-0A406A05CAD2}" destId="{E94408CD-EF85-4774-BA53-A3DB7D3C1F4C}" srcOrd="9" destOrd="0" presId="urn:microsoft.com/office/officeart/2008/layout/VerticalCurvedList"/>
    <dgm:cxn modelId="{DCE6FD2A-03BB-4280-AC64-DC7A4D8AA307}" type="presParOf" srcId="{43AFC4E7-46DA-4B7B-B201-0A406A05CAD2}" destId="{084B543F-777C-44B7-8089-181F52D7D6B4}" srcOrd="10" destOrd="0" presId="urn:microsoft.com/office/officeart/2008/layout/VerticalCurvedList"/>
    <dgm:cxn modelId="{71EF4550-A211-4E4D-91C4-D49A790C2D7D}" type="presParOf" srcId="{084B543F-777C-44B7-8089-181F52D7D6B4}" destId="{5AF5E7EE-A04D-40FC-8300-CF20EEE80831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940BDDF-1FEF-41BF-B9E9-0FFE3926A970}">
      <dsp:nvSpPr>
        <dsp:cNvPr id="0" name=""/>
        <dsp:cNvSpPr/>
      </dsp:nvSpPr>
      <dsp:spPr>
        <a:xfrm>
          <a:off x="-5519203" y="-845012"/>
          <a:ext cx="6571491" cy="6571491"/>
        </a:xfrm>
        <a:prstGeom prst="blockArc">
          <a:avLst>
            <a:gd name="adj1" fmla="val 18900000"/>
            <a:gd name="adj2" fmla="val 2700000"/>
            <a:gd name="adj3" fmla="val 329"/>
          </a:avLst>
        </a:pr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4C74578-773C-4297-A4DE-1398F67BB91C}">
      <dsp:nvSpPr>
        <dsp:cNvPr id="0" name=""/>
        <dsp:cNvSpPr/>
      </dsp:nvSpPr>
      <dsp:spPr>
        <a:xfrm>
          <a:off x="460077" y="330654"/>
          <a:ext cx="8083810" cy="610378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448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Rapport moral du Président : bilan et projet 2021-2024</a:t>
          </a:r>
        </a:p>
      </dsp:txBody>
      <dsp:txXfrm>
        <a:off x="460077" y="330654"/>
        <a:ext cx="8083810" cy="610378"/>
      </dsp:txXfrm>
    </dsp:sp>
    <dsp:sp modelId="{EBBCF617-4DDB-47D0-98C7-99413FA904B7}">
      <dsp:nvSpPr>
        <dsp:cNvPr id="0" name=""/>
        <dsp:cNvSpPr/>
      </dsp:nvSpPr>
      <dsp:spPr>
        <a:xfrm>
          <a:off x="78590" y="228696"/>
          <a:ext cx="762973" cy="76297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8266B62-763B-47EE-941B-BD512A93B9FC}">
      <dsp:nvSpPr>
        <dsp:cNvPr id="0" name=""/>
        <dsp:cNvSpPr/>
      </dsp:nvSpPr>
      <dsp:spPr>
        <a:xfrm>
          <a:off x="897456" y="1220269"/>
          <a:ext cx="7646430" cy="610378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448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Rapport financier de l’année 2020-2021</a:t>
          </a:r>
        </a:p>
      </dsp:txBody>
      <dsp:txXfrm>
        <a:off x="897456" y="1220269"/>
        <a:ext cx="7646430" cy="610378"/>
      </dsp:txXfrm>
    </dsp:sp>
    <dsp:sp modelId="{7A113706-4115-4E46-A0DB-BB2E4C947383}">
      <dsp:nvSpPr>
        <dsp:cNvPr id="0" name=""/>
        <dsp:cNvSpPr/>
      </dsp:nvSpPr>
      <dsp:spPr>
        <a:xfrm>
          <a:off x="515969" y="1143971"/>
          <a:ext cx="762973" cy="76297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44906E9-3C2F-4CD0-B0C9-498EF34769BF}">
      <dsp:nvSpPr>
        <dsp:cNvPr id="0" name=""/>
        <dsp:cNvSpPr/>
      </dsp:nvSpPr>
      <dsp:spPr>
        <a:xfrm>
          <a:off x="1031696" y="2135544"/>
          <a:ext cx="7512190" cy="610378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448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Élections au Conseil d’Administration </a:t>
          </a:r>
        </a:p>
      </dsp:txBody>
      <dsp:txXfrm>
        <a:off x="1031696" y="2135544"/>
        <a:ext cx="7512190" cy="610378"/>
      </dsp:txXfrm>
    </dsp:sp>
    <dsp:sp modelId="{0692BF8D-B063-4580-8A2D-225A14481CCD}">
      <dsp:nvSpPr>
        <dsp:cNvPr id="0" name=""/>
        <dsp:cNvSpPr/>
      </dsp:nvSpPr>
      <dsp:spPr>
        <a:xfrm>
          <a:off x="650210" y="2059246"/>
          <a:ext cx="762973" cy="76297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85C842E-3771-4A21-BC8F-6664E8E4209A}">
      <dsp:nvSpPr>
        <dsp:cNvPr id="0" name=""/>
        <dsp:cNvSpPr/>
      </dsp:nvSpPr>
      <dsp:spPr>
        <a:xfrm>
          <a:off x="897456" y="3050819"/>
          <a:ext cx="7646430" cy="61037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448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Budget de l’année 2021-2022</a:t>
          </a:r>
        </a:p>
      </dsp:txBody>
      <dsp:txXfrm>
        <a:off x="897456" y="3050819"/>
        <a:ext cx="7646430" cy="610378"/>
      </dsp:txXfrm>
    </dsp:sp>
    <dsp:sp modelId="{1CAC461D-769E-43F1-85D8-A86E37EE9368}">
      <dsp:nvSpPr>
        <dsp:cNvPr id="0" name=""/>
        <dsp:cNvSpPr/>
      </dsp:nvSpPr>
      <dsp:spPr>
        <a:xfrm>
          <a:off x="515969" y="2974521"/>
          <a:ext cx="762973" cy="76297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94408CD-EF85-4774-BA53-A3DB7D3C1F4C}">
      <dsp:nvSpPr>
        <dsp:cNvPr id="0" name=""/>
        <dsp:cNvSpPr/>
      </dsp:nvSpPr>
      <dsp:spPr>
        <a:xfrm>
          <a:off x="460077" y="3966094"/>
          <a:ext cx="8083810" cy="610378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448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Questions diverses</a:t>
          </a:r>
        </a:p>
      </dsp:txBody>
      <dsp:txXfrm>
        <a:off x="460077" y="3966094"/>
        <a:ext cx="8083810" cy="610378"/>
      </dsp:txXfrm>
    </dsp:sp>
    <dsp:sp modelId="{5AF5E7EE-A04D-40FC-8300-CF20EEE80831}">
      <dsp:nvSpPr>
        <dsp:cNvPr id="0" name=""/>
        <dsp:cNvSpPr/>
      </dsp:nvSpPr>
      <dsp:spPr>
        <a:xfrm>
          <a:off x="78590" y="3889796"/>
          <a:ext cx="762973" cy="76297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940BDDF-1FEF-41BF-B9E9-0FFE3926A970}">
      <dsp:nvSpPr>
        <dsp:cNvPr id="0" name=""/>
        <dsp:cNvSpPr/>
      </dsp:nvSpPr>
      <dsp:spPr>
        <a:xfrm>
          <a:off x="-5519203" y="-845012"/>
          <a:ext cx="6571491" cy="6571491"/>
        </a:xfrm>
        <a:prstGeom prst="blockArc">
          <a:avLst>
            <a:gd name="adj1" fmla="val 18900000"/>
            <a:gd name="adj2" fmla="val 2700000"/>
            <a:gd name="adj3" fmla="val 329"/>
          </a:avLst>
        </a:pr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4C74578-773C-4297-A4DE-1398F67BB91C}">
      <dsp:nvSpPr>
        <dsp:cNvPr id="0" name=""/>
        <dsp:cNvSpPr/>
      </dsp:nvSpPr>
      <dsp:spPr>
        <a:xfrm>
          <a:off x="460077" y="330654"/>
          <a:ext cx="8083810" cy="610378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448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Rapport moral du Président : bilan et projet 2021-2024</a:t>
          </a:r>
        </a:p>
      </dsp:txBody>
      <dsp:txXfrm>
        <a:off x="460077" y="330654"/>
        <a:ext cx="8083810" cy="610378"/>
      </dsp:txXfrm>
    </dsp:sp>
    <dsp:sp modelId="{EBBCF617-4DDB-47D0-98C7-99413FA904B7}">
      <dsp:nvSpPr>
        <dsp:cNvPr id="0" name=""/>
        <dsp:cNvSpPr/>
      </dsp:nvSpPr>
      <dsp:spPr>
        <a:xfrm>
          <a:off x="78590" y="228696"/>
          <a:ext cx="762973" cy="76297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8266B62-763B-47EE-941B-BD512A93B9FC}">
      <dsp:nvSpPr>
        <dsp:cNvPr id="0" name=""/>
        <dsp:cNvSpPr/>
      </dsp:nvSpPr>
      <dsp:spPr>
        <a:xfrm>
          <a:off x="897456" y="1220269"/>
          <a:ext cx="7646430" cy="610378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448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Rapport financier de l’année 2020-2021</a:t>
          </a:r>
        </a:p>
      </dsp:txBody>
      <dsp:txXfrm>
        <a:off x="897456" y="1220269"/>
        <a:ext cx="7646430" cy="610378"/>
      </dsp:txXfrm>
    </dsp:sp>
    <dsp:sp modelId="{7A113706-4115-4E46-A0DB-BB2E4C947383}">
      <dsp:nvSpPr>
        <dsp:cNvPr id="0" name=""/>
        <dsp:cNvSpPr/>
      </dsp:nvSpPr>
      <dsp:spPr>
        <a:xfrm>
          <a:off x="515969" y="1143971"/>
          <a:ext cx="762973" cy="76297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44906E9-3C2F-4CD0-B0C9-498EF34769BF}">
      <dsp:nvSpPr>
        <dsp:cNvPr id="0" name=""/>
        <dsp:cNvSpPr/>
      </dsp:nvSpPr>
      <dsp:spPr>
        <a:xfrm>
          <a:off x="1031696" y="2135544"/>
          <a:ext cx="7512190" cy="610378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448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Élections au Conseil d’Administration </a:t>
          </a:r>
        </a:p>
      </dsp:txBody>
      <dsp:txXfrm>
        <a:off x="1031696" y="2135544"/>
        <a:ext cx="7512190" cy="610378"/>
      </dsp:txXfrm>
    </dsp:sp>
    <dsp:sp modelId="{0692BF8D-B063-4580-8A2D-225A14481CCD}">
      <dsp:nvSpPr>
        <dsp:cNvPr id="0" name=""/>
        <dsp:cNvSpPr/>
      </dsp:nvSpPr>
      <dsp:spPr>
        <a:xfrm>
          <a:off x="650210" y="2059246"/>
          <a:ext cx="762973" cy="76297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85C842E-3771-4A21-BC8F-6664E8E4209A}">
      <dsp:nvSpPr>
        <dsp:cNvPr id="0" name=""/>
        <dsp:cNvSpPr/>
      </dsp:nvSpPr>
      <dsp:spPr>
        <a:xfrm>
          <a:off x="897456" y="3050819"/>
          <a:ext cx="7646430" cy="61037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448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Budget de l’année 2021-2022</a:t>
          </a:r>
        </a:p>
      </dsp:txBody>
      <dsp:txXfrm>
        <a:off x="897456" y="3050819"/>
        <a:ext cx="7646430" cy="610378"/>
      </dsp:txXfrm>
    </dsp:sp>
    <dsp:sp modelId="{1CAC461D-769E-43F1-85D8-A86E37EE9368}">
      <dsp:nvSpPr>
        <dsp:cNvPr id="0" name=""/>
        <dsp:cNvSpPr/>
      </dsp:nvSpPr>
      <dsp:spPr>
        <a:xfrm>
          <a:off x="515969" y="2974521"/>
          <a:ext cx="762973" cy="76297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94408CD-EF85-4774-BA53-A3DB7D3C1F4C}">
      <dsp:nvSpPr>
        <dsp:cNvPr id="0" name=""/>
        <dsp:cNvSpPr/>
      </dsp:nvSpPr>
      <dsp:spPr>
        <a:xfrm>
          <a:off x="460077" y="3966094"/>
          <a:ext cx="8083810" cy="610378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448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Questions diverses</a:t>
          </a:r>
        </a:p>
      </dsp:txBody>
      <dsp:txXfrm>
        <a:off x="460077" y="3966094"/>
        <a:ext cx="8083810" cy="610378"/>
      </dsp:txXfrm>
    </dsp:sp>
    <dsp:sp modelId="{5AF5E7EE-A04D-40FC-8300-CF20EEE80831}">
      <dsp:nvSpPr>
        <dsp:cNvPr id="0" name=""/>
        <dsp:cNvSpPr/>
      </dsp:nvSpPr>
      <dsp:spPr>
        <a:xfrm>
          <a:off x="78590" y="3889796"/>
          <a:ext cx="762973" cy="76297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644DDD9-B6F8-4655-8D8B-43C9D6CB8B31}">
      <dsp:nvSpPr>
        <dsp:cNvPr id="0" name=""/>
        <dsp:cNvSpPr/>
      </dsp:nvSpPr>
      <dsp:spPr>
        <a:xfrm>
          <a:off x="2879849" y="0"/>
          <a:ext cx="2393904" cy="1051130"/>
        </a:xfrm>
        <a:prstGeom prst="roundRect">
          <a:avLst/>
        </a:prstGeom>
        <a:solidFill>
          <a:schemeClr val="tx2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kern="1200" dirty="0">
              <a:solidFill>
                <a:schemeClr val="tx1"/>
              </a:solidFill>
            </a:rPr>
            <a:t>Elus d’HERBLAY</a:t>
          </a:r>
        </a:p>
      </dsp:txBody>
      <dsp:txXfrm>
        <a:off x="2931161" y="51312"/>
        <a:ext cx="2291280" cy="948506"/>
      </dsp:txXfrm>
    </dsp:sp>
    <dsp:sp modelId="{6AC8799C-ECCB-4A46-BF36-CC5BC71CC2D7}">
      <dsp:nvSpPr>
        <dsp:cNvPr id="0" name=""/>
        <dsp:cNvSpPr/>
      </dsp:nvSpPr>
      <dsp:spPr>
        <a:xfrm>
          <a:off x="1677868" y="496660"/>
          <a:ext cx="4822117" cy="4822117"/>
        </a:xfrm>
        <a:custGeom>
          <a:avLst/>
          <a:gdLst/>
          <a:ahLst/>
          <a:cxnLst/>
          <a:rect l="0" t="0" r="0" b="0"/>
          <a:pathLst>
            <a:path>
              <a:moveTo>
                <a:pt x="3607285" y="317677"/>
              </a:moveTo>
              <a:arcTo wR="2411058" hR="2411058" stAng="17984703" swAng="1855620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E5D2AD9-4686-49B8-B72A-27931EEEC98A}">
      <dsp:nvSpPr>
        <dsp:cNvPr id="0" name=""/>
        <dsp:cNvSpPr/>
      </dsp:nvSpPr>
      <dsp:spPr>
        <a:xfrm>
          <a:off x="5298181" y="1738210"/>
          <a:ext cx="2249682" cy="991120"/>
        </a:xfrm>
        <a:prstGeom prst="roundRect">
          <a:avLst/>
        </a:prstGeom>
        <a:solidFill>
          <a:schemeClr val="accent4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kern="1200" dirty="0">
              <a:solidFill>
                <a:schemeClr val="tx1"/>
              </a:solidFill>
            </a:rPr>
            <a:t>Services de la Ville</a:t>
          </a:r>
        </a:p>
      </dsp:txBody>
      <dsp:txXfrm>
        <a:off x="5346563" y="1786592"/>
        <a:ext cx="2152918" cy="894356"/>
      </dsp:txXfrm>
    </dsp:sp>
    <dsp:sp modelId="{51A1BF9F-D5BC-4532-A20E-C97178709D63}">
      <dsp:nvSpPr>
        <dsp:cNvPr id="0" name=""/>
        <dsp:cNvSpPr/>
      </dsp:nvSpPr>
      <dsp:spPr>
        <a:xfrm>
          <a:off x="1753407" y="794207"/>
          <a:ext cx="4822117" cy="4822117"/>
        </a:xfrm>
        <a:custGeom>
          <a:avLst/>
          <a:gdLst/>
          <a:ahLst/>
          <a:cxnLst/>
          <a:rect l="0" t="0" r="0" b="0"/>
          <a:pathLst>
            <a:path>
              <a:moveTo>
                <a:pt x="4778763" y="1955890"/>
              </a:moveTo>
              <a:arcTo wR="2411058" hR="2411058" stAng="20947092" swAng="3063916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F2620E6-571C-4256-A0DD-CC7C9B162EE7}">
      <dsp:nvSpPr>
        <dsp:cNvPr id="0" name=""/>
        <dsp:cNvSpPr/>
      </dsp:nvSpPr>
      <dsp:spPr>
        <a:xfrm>
          <a:off x="4616846" y="4777081"/>
          <a:ext cx="2020990" cy="627957"/>
        </a:xfrm>
        <a:prstGeom prst="roundRect">
          <a:avLst/>
        </a:prstGeom>
        <a:solidFill>
          <a:srgbClr val="FF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b="0" kern="1200" dirty="0">
              <a:solidFill>
                <a:schemeClr val="tx1"/>
              </a:solidFill>
            </a:rPr>
            <a:t>Adhérents et leurs Parents</a:t>
          </a:r>
        </a:p>
      </dsp:txBody>
      <dsp:txXfrm>
        <a:off x="4647500" y="4807735"/>
        <a:ext cx="1959682" cy="566649"/>
      </dsp:txXfrm>
    </dsp:sp>
    <dsp:sp modelId="{324CD12F-8702-4DB9-8B3A-D36E9C436545}">
      <dsp:nvSpPr>
        <dsp:cNvPr id="0" name=""/>
        <dsp:cNvSpPr/>
      </dsp:nvSpPr>
      <dsp:spPr>
        <a:xfrm>
          <a:off x="1693678" y="769165"/>
          <a:ext cx="4822117" cy="4822117"/>
        </a:xfrm>
        <a:custGeom>
          <a:avLst/>
          <a:gdLst/>
          <a:ahLst/>
          <a:cxnLst/>
          <a:rect l="0" t="0" r="0" b="0"/>
          <a:pathLst>
            <a:path>
              <a:moveTo>
                <a:pt x="3322004" y="4643407"/>
              </a:moveTo>
              <a:arcTo wR="2411058" hR="2411058" stAng="4068077" swAng="2844029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0F3756C-447B-44FC-A73B-DF4F06606C29}">
      <dsp:nvSpPr>
        <dsp:cNvPr id="0" name=""/>
        <dsp:cNvSpPr/>
      </dsp:nvSpPr>
      <dsp:spPr>
        <a:xfrm>
          <a:off x="1473654" y="4505570"/>
          <a:ext cx="1861523" cy="847733"/>
        </a:xfrm>
        <a:prstGeom prst="roundRect">
          <a:avLst/>
        </a:prstGeom>
        <a:solidFill>
          <a:srgbClr val="FA7D7D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b="0" kern="1200" dirty="0">
              <a:solidFill>
                <a:schemeClr val="tx1"/>
              </a:solidFill>
            </a:rPr>
            <a:t>Bénévoles</a:t>
          </a:r>
        </a:p>
      </dsp:txBody>
      <dsp:txXfrm>
        <a:off x="1515037" y="4546953"/>
        <a:ext cx="1778757" cy="764967"/>
      </dsp:txXfrm>
    </dsp:sp>
    <dsp:sp modelId="{98311ED8-5FE3-4118-B5BA-55D1B809ACD1}">
      <dsp:nvSpPr>
        <dsp:cNvPr id="0" name=""/>
        <dsp:cNvSpPr/>
      </dsp:nvSpPr>
      <dsp:spPr>
        <a:xfrm>
          <a:off x="1650868" y="812238"/>
          <a:ext cx="4822117" cy="4822117"/>
        </a:xfrm>
        <a:custGeom>
          <a:avLst/>
          <a:gdLst/>
          <a:ahLst/>
          <a:cxnLst/>
          <a:rect l="0" t="0" r="0" b="0"/>
          <a:pathLst>
            <a:path>
              <a:moveTo>
                <a:pt x="359223" y="3677224"/>
              </a:moveTo>
              <a:arcTo wR="2411058" hR="2411058" stAng="8899302" swAng="2726377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EAF265E-4870-4BF1-B3C9-FE4520B01D93}">
      <dsp:nvSpPr>
        <dsp:cNvPr id="0" name=""/>
        <dsp:cNvSpPr/>
      </dsp:nvSpPr>
      <dsp:spPr>
        <a:xfrm>
          <a:off x="876854" y="1758558"/>
          <a:ext cx="1905456" cy="872789"/>
        </a:xfrm>
        <a:prstGeom prst="roundRect">
          <a:avLst/>
        </a:prstGeom>
        <a:solidFill>
          <a:srgbClr val="92D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kern="1200" dirty="0">
              <a:solidFill>
                <a:schemeClr val="tx1"/>
              </a:solidFill>
            </a:rPr>
            <a:t>Entraineurs</a:t>
          </a:r>
        </a:p>
      </dsp:txBody>
      <dsp:txXfrm>
        <a:off x="919460" y="1801164"/>
        <a:ext cx="1820244" cy="787577"/>
      </dsp:txXfrm>
    </dsp:sp>
    <dsp:sp modelId="{CEE12626-E5FE-44D1-A6FA-1003EBC65203}">
      <dsp:nvSpPr>
        <dsp:cNvPr id="0" name=""/>
        <dsp:cNvSpPr/>
      </dsp:nvSpPr>
      <dsp:spPr>
        <a:xfrm>
          <a:off x="1728300" y="512174"/>
          <a:ext cx="4822117" cy="4822117"/>
        </a:xfrm>
        <a:custGeom>
          <a:avLst/>
          <a:gdLst/>
          <a:ahLst/>
          <a:cxnLst/>
          <a:rect l="0" t="0" r="0" b="0"/>
          <a:pathLst>
            <a:path>
              <a:moveTo>
                <a:pt x="305942" y="1235606"/>
              </a:moveTo>
              <a:arcTo wR="2411058" hR="2411058" stAng="12550684" swAng="1742182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4E748BD-50A7-4601-9D8E-52CCA02FE461}">
      <dsp:nvSpPr>
        <dsp:cNvPr id="0" name=""/>
        <dsp:cNvSpPr/>
      </dsp:nvSpPr>
      <dsp:spPr>
        <a:xfrm>
          <a:off x="0" y="5075149"/>
          <a:ext cx="7648807" cy="391125"/>
        </a:xfrm>
        <a:prstGeom prst="rect">
          <a:avLst/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>
              <a:solidFill>
                <a:schemeClr val="tx1"/>
              </a:solidFill>
            </a:rPr>
            <a:t>Indemnisations et période d’inscriptions à tarifs préférentiels</a:t>
          </a:r>
        </a:p>
      </dsp:txBody>
      <dsp:txXfrm>
        <a:off x="0" y="5075149"/>
        <a:ext cx="7648807" cy="391125"/>
      </dsp:txXfrm>
    </dsp:sp>
    <dsp:sp modelId="{FEA37901-C0A0-473C-92BB-327FC88681BC}">
      <dsp:nvSpPr>
        <dsp:cNvPr id="0" name=""/>
        <dsp:cNvSpPr/>
      </dsp:nvSpPr>
      <dsp:spPr>
        <a:xfrm rot="10800000">
          <a:off x="0" y="4479466"/>
          <a:ext cx="7648807" cy="601550"/>
        </a:xfrm>
        <a:prstGeom prst="upArrowCallout">
          <a:avLst/>
        </a:prstGeom>
        <a:solidFill>
          <a:schemeClr val="tx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kern="1200" dirty="0">
              <a:solidFill>
                <a:schemeClr val="tx1"/>
              </a:solidFill>
            </a:rPr>
            <a:t>L’émission de reçus fiscaux</a:t>
          </a:r>
        </a:p>
      </dsp:txBody>
      <dsp:txXfrm rot="10800000">
        <a:off x="0" y="4479466"/>
        <a:ext cx="7648807" cy="390869"/>
      </dsp:txXfrm>
    </dsp:sp>
    <dsp:sp modelId="{44F915BB-13CA-4155-9369-3D188D9C8C24}">
      <dsp:nvSpPr>
        <dsp:cNvPr id="0" name=""/>
        <dsp:cNvSpPr/>
      </dsp:nvSpPr>
      <dsp:spPr>
        <a:xfrm rot="10800000">
          <a:off x="0" y="3883782"/>
          <a:ext cx="7648807" cy="601550"/>
        </a:xfrm>
        <a:prstGeom prst="upArrowCallout">
          <a:avLst/>
        </a:prstGeom>
        <a:solidFill>
          <a:schemeClr val="accent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kern="1200" dirty="0">
              <a:solidFill>
                <a:schemeClr val="tx1"/>
              </a:solidFill>
            </a:rPr>
            <a:t>La création d’un charte graphique</a:t>
          </a:r>
        </a:p>
      </dsp:txBody>
      <dsp:txXfrm rot="10800000">
        <a:off x="0" y="3883782"/>
        <a:ext cx="7648807" cy="390869"/>
      </dsp:txXfrm>
    </dsp:sp>
    <dsp:sp modelId="{037BBCA1-DA96-4D49-82E4-5BFB27FC9589}">
      <dsp:nvSpPr>
        <dsp:cNvPr id="0" name=""/>
        <dsp:cNvSpPr/>
      </dsp:nvSpPr>
      <dsp:spPr>
        <a:xfrm rot="10800000">
          <a:off x="0" y="3288099"/>
          <a:ext cx="7648807" cy="601550"/>
        </a:xfrm>
        <a:prstGeom prst="upArrowCallout">
          <a:avLst/>
        </a:prstGeom>
        <a:solidFill>
          <a:srgbClr val="FA7D7D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kern="1200" dirty="0">
              <a:solidFill>
                <a:schemeClr val="tx1"/>
              </a:solidFill>
            </a:rPr>
            <a:t>La construction du projet «En route pour 2024 »</a:t>
          </a:r>
        </a:p>
      </dsp:txBody>
      <dsp:txXfrm rot="10800000">
        <a:off x="0" y="3288099"/>
        <a:ext cx="7648807" cy="390869"/>
      </dsp:txXfrm>
    </dsp:sp>
    <dsp:sp modelId="{B9A938CB-C6E6-487E-A8BD-5FE0271E12CE}">
      <dsp:nvSpPr>
        <dsp:cNvPr id="0" name=""/>
        <dsp:cNvSpPr/>
      </dsp:nvSpPr>
      <dsp:spPr>
        <a:xfrm rot="10800000">
          <a:off x="0" y="2692416"/>
          <a:ext cx="7648807" cy="601550"/>
        </a:xfrm>
        <a:prstGeom prst="upArrowCallout">
          <a:avLst/>
        </a:prstGeom>
        <a:solidFill>
          <a:srgbClr val="FCCBCE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kern="1200" dirty="0">
              <a:solidFill>
                <a:schemeClr val="tx1"/>
              </a:solidFill>
            </a:rPr>
            <a:t>19 semaines d’arrêt pour les Mineurs, 25 pour les Adultes </a:t>
          </a:r>
        </a:p>
      </dsp:txBody>
      <dsp:txXfrm rot="10800000">
        <a:off x="0" y="2692416"/>
        <a:ext cx="7648807" cy="390869"/>
      </dsp:txXfrm>
    </dsp:sp>
    <dsp:sp modelId="{65E4CCF9-1BA6-4E24-ADAF-ED92440A61F0}">
      <dsp:nvSpPr>
        <dsp:cNvPr id="0" name=""/>
        <dsp:cNvSpPr/>
      </dsp:nvSpPr>
      <dsp:spPr>
        <a:xfrm rot="10800000">
          <a:off x="0" y="2096732"/>
          <a:ext cx="7648807" cy="601550"/>
        </a:xfrm>
        <a:prstGeom prst="upArrowCallout">
          <a:avLst/>
        </a:prstGeom>
        <a:solidFill>
          <a:srgbClr val="FCCBCE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kern="1200" dirty="0">
              <a:solidFill>
                <a:schemeClr val="tx1"/>
              </a:solidFill>
            </a:rPr>
            <a:t>Maintien des salaires à 100 % pour les salariés</a:t>
          </a:r>
        </a:p>
      </dsp:txBody>
      <dsp:txXfrm rot="10800000">
        <a:off x="0" y="2096732"/>
        <a:ext cx="7648807" cy="390869"/>
      </dsp:txXfrm>
    </dsp:sp>
    <dsp:sp modelId="{DE9D4EB4-CAC9-4A9D-ACA5-A3AB016B88C4}">
      <dsp:nvSpPr>
        <dsp:cNvPr id="0" name=""/>
        <dsp:cNvSpPr/>
      </dsp:nvSpPr>
      <dsp:spPr>
        <a:xfrm rot="10800000">
          <a:off x="0" y="1501049"/>
          <a:ext cx="7648807" cy="601550"/>
        </a:xfrm>
        <a:prstGeom prst="upArrowCallout">
          <a:avLst/>
        </a:prstGeom>
        <a:solidFill>
          <a:srgbClr val="FA7D7D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kern="1200" dirty="0">
              <a:solidFill>
                <a:schemeClr val="tx1"/>
              </a:solidFill>
            </a:rPr>
            <a:t>Une Assemblée Générale en </a:t>
          </a:r>
          <a:r>
            <a:rPr lang="fr-FR" sz="2400" kern="1200" dirty="0" err="1">
              <a:solidFill>
                <a:schemeClr val="tx1"/>
              </a:solidFill>
            </a:rPr>
            <a:t>visio</a:t>
          </a:r>
          <a:r>
            <a:rPr lang="fr-FR" sz="2400" kern="1200" dirty="0">
              <a:solidFill>
                <a:schemeClr val="tx1"/>
              </a:solidFill>
            </a:rPr>
            <a:t> le 27 novembre 2020</a:t>
          </a:r>
        </a:p>
      </dsp:txBody>
      <dsp:txXfrm rot="10800000">
        <a:off x="0" y="1501049"/>
        <a:ext cx="7648807" cy="390869"/>
      </dsp:txXfrm>
    </dsp:sp>
    <dsp:sp modelId="{04C9FAE8-795C-4A6B-A109-F1E518811555}">
      <dsp:nvSpPr>
        <dsp:cNvPr id="0" name=""/>
        <dsp:cNvSpPr/>
      </dsp:nvSpPr>
      <dsp:spPr>
        <a:xfrm rot="10800000">
          <a:off x="0" y="597149"/>
          <a:ext cx="7648807" cy="909766"/>
        </a:xfrm>
        <a:prstGeom prst="upArrowCallout">
          <a:avLst/>
        </a:prstGeom>
        <a:solidFill>
          <a:schemeClr val="accent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>
              <a:solidFill>
                <a:schemeClr val="tx1"/>
              </a:solidFill>
            </a:rPr>
            <a:t>Tournoi interne Bad le 17 octobre et stages de Bad et de GAM en octobre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>
              <a:solidFill>
                <a:schemeClr val="tx1"/>
              </a:solidFill>
            </a:rPr>
            <a:t>avant la fermeture</a:t>
          </a:r>
        </a:p>
      </dsp:txBody>
      <dsp:txXfrm rot="10800000">
        <a:off x="0" y="597149"/>
        <a:ext cx="7648807" cy="591139"/>
      </dsp:txXfrm>
    </dsp:sp>
    <dsp:sp modelId="{5C0CA91D-458F-4D8D-AEFC-AB497E6D417C}">
      <dsp:nvSpPr>
        <dsp:cNvPr id="0" name=""/>
        <dsp:cNvSpPr/>
      </dsp:nvSpPr>
      <dsp:spPr>
        <a:xfrm rot="10800000">
          <a:off x="0" y="1466"/>
          <a:ext cx="7648807" cy="601550"/>
        </a:xfrm>
        <a:prstGeom prst="upArrowCallout">
          <a:avLst/>
        </a:prstGeom>
        <a:solidFill>
          <a:schemeClr val="accent6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kern="1200" dirty="0">
              <a:solidFill>
                <a:schemeClr val="tx1"/>
              </a:solidFill>
            </a:rPr>
            <a:t>Saison très fortement amputée sans compétitions</a:t>
          </a:r>
        </a:p>
      </dsp:txBody>
      <dsp:txXfrm rot="10800000">
        <a:off x="0" y="1466"/>
        <a:ext cx="7648807" cy="39086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CAE71AD-FBE0-4E65-B559-470C13B055BA}">
      <dsp:nvSpPr>
        <dsp:cNvPr id="0" name=""/>
        <dsp:cNvSpPr/>
      </dsp:nvSpPr>
      <dsp:spPr>
        <a:xfrm>
          <a:off x="1596995" y="2220124"/>
          <a:ext cx="1556307" cy="1336377"/>
        </a:xfrm>
        <a:prstGeom prst="hexagon">
          <a:avLst>
            <a:gd name="adj" fmla="val 25000"/>
            <a:gd name="vf" fmla="val 115470"/>
          </a:avLst>
        </a:prstGeom>
        <a:solidFill>
          <a:schemeClr val="accent2">
            <a:lumMod val="20000"/>
            <a:lumOff val="80000"/>
          </a:schemeClr>
        </a:solidFill>
        <a:ln w="25400" cap="flat" cmpd="sng" algn="ctr">
          <a:solidFill>
            <a:srgbClr val="FF0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22860" rIns="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>
              <a:solidFill>
                <a:schemeClr val="tx1"/>
              </a:solidFill>
            </a:rPr>
            <a:t>Construire et se développer</a:t>
          </a:r>
        </a:p>
      </dsp:txBody>
      <dsp:txXfrm>
        <a:off x="1838052" y="2427116"/>
        <a:ext cx="1074193" cy="922393"/>
      </dsp:txXfrm>
    </dsp:sp>
    <dsp:sp modelId="{58096770-95C8-445B-A31C-9E80D50E548D}">
      <dsp:nvSpPr>
        <dsp:cNvPr id="0" name=""/>
        <dsp:cNvSpPr/>
      </dsp:nvSpPr>
      <dsp:spPr>
        <a:xfrm flipH="1">
          <a:off x="3563519" y="4047731"/>
          <a:ext cx="66767" cy="37975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B515B37-096A-4789-8D2E-A73885B8C952}">
      <dsp:nvSpPr>
        <dsp:cNvPr id="0" name=""/>
        <dsp:cNvSpPr/>
      </dsp:nvSpPr>
      <dsp:spPr>
        <a:xfrm>
          <a:off x="257713" y="1481373"/>
          <a:ext cx="1556307" cy="1336377"/>
        </a:xfrm>
        <a:prstGeom prst="ellipse">
          <a:avLst/>
        </a:prstGeom>
        <a:blipFill rotWithShape="1">
          <a:blip xmlns:r="http://schemas.openxmlformats.org/officeDocument/2006/relationships" r:embed="rId1"/>
          <a:srcRect/>
          <a:stretch>
            <a:fillRect l="-38000" r="-38000"/>
          </a:stretch>
        </a:blipFill>
        <a:ln w="25400" cap="flat" cmpd="sng" algn="ctr">
          <a:solidFill>
            <a:srgbClr val="FF0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BCDABDA-F376-46BE-AB30-E52BB8478674}">
      <dsp:nvSpPr>
        <dsp:cNvPr id="0" name=""/>
        <dsp:cNvSpPr/>
      </dsp:nvSpPr>
      <dsp:spPr>
        <a:xfrm>
          <a:off x="1323857" y="3810058"/>
          <a:ext cx="181541" cy="156613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862A431-D4BF-41F1-A911-357207B704A9}">
      <dsp:nvSpPr>
        <dsp:cNvPr id="0" name=""/>
        <dsp:cNvSpPr/>
      </dsp:nvSpPr>
      <dsp:spPr>
        <a:xfrm>
          <a:off x="2963497" y="1495649"/>
          <a:ext cx="1556307" cy="1336377"/>
        </a:xfrm>
        <a:prstGeom prst="hexagon">
          <a:avLst>
            <a:gd name="adj" fmla="val 25000"/>
            <a:gd name="vf" fmla="val 115470"/>
          </a:avLst>
        </a:prstGeom>
        <a:solidFill>
          <a:schemeClr val="accent2">
            <a:lumMod val="20000"/>
            <a:lumOff val="80000"/>
          </a:schemeClr>
        </a:solidFill>
        <a:ln w="25400" cap="flat" cmpd="sng" algn="ctr">
          <a:solidFill>
            <a:srgbClr val="FF0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22860" rIns="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>
              <a:solidFill>
                <a:schemeClr val="tx1"/>
              </a:solidFill>
            </a:rPr>
            <a:t>Mobiliser les bénévoles</a:t>
          </a:r>
        </a:p>
      </dsp:txBody>
      <dsp:txXfrm>
        <a:off x="3204554" y="1702641"/>
        <a:ext cx="1074193" cy="922393"/>
      </dsp:txXfrm>
    </dsp:sp>
    <dsp:sp modelId="{95FFD1A7-CFE5-41C9-A02B-109A11DF2911}">
      <dsp:nvSpPr>
        <dsp:cNvPr id="0" name=""/>
        <dsp:cNvSpPr/>
      </dsp:nvSpPr>
      <dsp:spPr>
        <a:xfrm>
          <a:off x="4007373" y="2941513"/>
          <a:ext cx="181541" cy="156613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90D0DAE-B2CF-4071-8432-46D343D39C73}">
      <dsp:nvSpPr>
        <dsp:cNvPr id="0" name=""/>
        <dsp:cNvSpPr/>
      </dsp:nvSpPr>
      <dsp:spPr>
        <a:xfrm>
          <a:off x="4274735" y="2217543"/>
          <a:ext cx="1556307" cy="1336377"/>
        </a:xfrm>
        <a:prstGeom prst="hexagon">
          <a:avLst>
            <a:gd name="adj" fmla="val 25000"/>
            <a:gd name="vf" fmla="val 115470"/>
          </a:avLst>
        </a:prstGeom>
        <a:noFill/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98120EC-4271-4528-8068-DB8AF8846D80}">
      <dsp:nvSpPr>
        <dsp:cNvPr id="0" name=""/>
        <dsp:cNvSpPr/>
      </dsp:nvSpPr>
      <dsp:spPr>
        <a:xfrm>
          <a:off x="4078770" y="3077969"/>
          <a:ext cx="181541" cy="156613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C7E32F8-6683-48A4-9B27-F3CCF8DBE4D6}">
      <dsp:nvSpPr>
        <dsp:cNvPr id="0" name=""/>
        <dsp:cNvSpPr/>
      </dsp:nvSpPr>
      <dsp:spPr>
        <a:xfrm>
          <a:off x="1596995" y="743053"/>
          <a:ext cx="1556307" cy="1336377"/>
        </a:xfrm>
        <a:prstGeom prst="hexagon">
          <a:avLst>
            <a:gd name="adj" fmla="val 25000"/>
            <a:gd name="vf" fmla="val 115470"/>
          </a:avLst>
        </a:prstGeom>
        <a:solidFill>
          <a:schemeClr val="accent2">
            <a:lumMod val="20000"/>
            <a:lumOff val="80000"/>
          </a:schemeClr>
        </a:solidFill>
        <a:ln w="25400" cap="flat" cmpd="sng" algn="ctr">
          <a:solidFill>
            <a:srgbClr val="FF0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25400" rIns="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>
              <a:solidFill>
                <a:schemeClr val="tx1"/>
              </a:solidFill>
            </a:rPr>
            <a:t>Attirer 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>
              <a:solidFill>
                <a:schemeClr val="tx1"/>
              </a:solidFill>
            </a:rPr>
            <a:t>&amp;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>
              <a:solidFill>
                <a:schemeClr val="tx1"/>
              </a:solidFill>
            </a:rPr>
            <a:t> fidéliser</a:t>
          </a:r>
        </a:p>
      </dsp:txBody>
      <dsp:txXfrm>
        <a:off x="1838052" y="950045"/>
        <a:ext cx="1074193" cy="922393"/>
      </dsp:txXfrm>
    </dsp:sp>
    <dsp:sp modelId="{E71320B9-DE5F-4911-9BDB-7413273E2C03}">
      <dsp:nvSpPr>
        <dsp:cNvPr id="0" name=""/>
        <dsp:cNvSpPr/>
      </dsp:nvSpPr>
      <dsp:spPr>
        <a:xfrm>
          <a:off x="3143646" y="618717"/>
          <a:ext cx="181541" cy="156613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48037AA-750F-4647-B17C-ED861479BA7C}">
      <dsp:nvSpPr>
        <dsp:cNvPr id="0" name=""/>
        <dsp:cNvSpPr/>
      </dsp:nvSpPr>
      <dsp:spPr>
        <a:xfrm>
          <a:off x="2936277" y="0"/>
          <a:ext cx="1556307" cy="1336377"/>
        </a:xfrm>
        <a:prstGeom prst="hexagon">
          <a:avLst>
            <a:gd name="adj" fmla="val 25000"/>
            <a:gd name="vf" fmla="val 115470"/>
          </a:avLst>
        </a:prstGeom>
        <a:solidFill>
          <a:schemeClr val="accent3">
            <a:lumMod val="20000"/>
            <a:lumOff val="80000"/>
            <a:alpha val="90000"/>
          </a:schemeClr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13864F3-E8DA-48D4-AB3C-5815EA250F18}">
      <dsp:nvSpPr>
        <dsp:cNvPr id="0" name=""/>
        <dsp:cNvSpPr/>
      </dsp:nvSpPr>
      <dsp:spPr>
        <a:xfrm>
          <a:off x="0" y="330353"/>
          <a:ext cx="429543" cy="59038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47EBFF0-CC22-47F4-AEC9-95D2B36547F0}">
      <dsp:nvSpPr>
        <dsp:cNvPr id="0" name=""/>
        <dsp:cNvSpPr/>
      </dsp:nvSpPr>
      <dsp:spPr>
        <a:xfrm>
          <a:off x="4274735" y="740041"/>
          <a:ext cx="1556307" cy="1336377"/>
        </a:xfrm>
        <a:prstGeom prst="hexagon">
          <a:avLst>
            <a:gd name="adj" fmla="val 25000"/>
            <a:gd name="vf" fmla="val 115470"/>
          </a:avLst>
        </a:prstGeom>
        <a:solidFill>
          <a:schemeClr val="accent2">
            <a:lumMod val="20000"/>
            <a:lumOff val="80000"/>
          </a:schemeClr>
        </a:solidFill>
        <a:ln w="25400" cap="flat" cmpd="sng" algn="ctr">
          <a:solidFill>
            <a:srgbClr val="FF0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25400" rIns="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>
              <a:solidFill>
                <a:schemeClr val="tx1"/>
              </a:solidFill>
            </a:rPr>
            <a:t>Pratiquer &amp; </a:t>
          </a:r>
          <a:r>
            <a:rPr lang="fr-FR" sz="1800" kern="1200" dirty="0">
              <a:solidFill>
                <a:schemeClr val="tx1"/>
              </a:solidFill>
            </a:rPr>
            <a:t>Progresser</a:t>
          </a:r>
        </a:p>
      </dsp:txBody>
      <dsp:txXfrm>
        <a:off x="4515792" y="947033"/>
        <a:ext cx="1074193" cy="922393"/>
      </dsp:txXfrm>
    </dsp:sp>
    <dsp:sp modelId="{B74D2354-28D3-4216-BF8A-CA9CE259412B}">
      <dsp:nvSpPr>
        <dsp:cNvPr id="0" name=""/>
        <dsp:cNvSpPr/>
      </dsp:nvSpPr>
      <dsp:spPr>
        <a:xfrm>
          <a:off x="5472583" y="0"/>
          <a:ext cx="181541" cy="156613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3CDC9BB-95A3-456A-93D0-8B42C228F2CD}">
      <dsp:nvSpPr>
        <dsp:cNvPr id="0" name=""/>
        <dsp:cNvSpPr/>
      </dsp:nvSpPr>
      <dsp:spPr>
        <a:xfrm>
          <a:off x="5614017" y="1491269"/>
          <a:ext cx="1556307" cy="1336377"/>
        </a:xfrm>
        <a:prstGeom prst="ellipse">
          <a:avLst/>
        </a:prstGeom>
        <a:blipFill rotWithShape="1">
          <a:blip xmlns:r="http://schemas.openxmlformats.org/officeDocument/2006/relationships" r:embed="rId2"/>
          <a:srcRect/>
          <a:stretch>
            <a:fillRect l="-37000" r="-37000"/>
          </a:stretch>
        </a:blipFill>
        <a:ln w="25400" cap="flat" cmpd="sng" algn="ctr">
          <a:solidFill>
            <a:srgbClr val="FF0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92C2C5B-9DB6-4F8F-8448-2D94D1C04E77}">
      <dsp:nvSpPr>
        <dsp:cNvPr id="0" name=""/>
        <dsp:cNvSpPr/>
      </dsp:nvSpPr>
      <dsp:spPr>
        <a:xfrm>
          <a:off x="5364776" y="473380"/>
          <a:ext cx="181541" cy="156613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B2C69B4-8316-426C-9E0B-78B15A4E9FAF}">
      <dsp:nvSpPr>
        <dsp:cNvPr id="0" name=""/>
        <dsp:cNvSpPr/>
      </dsp:nvSpPr>
      <dsp:spPr>
        <a:xfrm>
          <a:off x="5614017" y="14198"/>
          <a:ext cx="1556307" cy="1336377"/>
        </a:xfrm>
        <a:prstGeom prst="hexagon">
          <a:avLst>
            <a:gd name="adj" fmla="val 25000"/>
            <a:gd name="vf" fmla="val 115470"/>
          </a:avLst>
        </a:prstGeom>
        <a:solidFill>
          <a:schemeClr val="accent2">
            <a:lumMod val="20000"/>
            <a:lumOff val="80000"/>
          </a:schemeClr>
        </a:solidFill>
        <a:ln w="25400" cap="flat" cmpd="sng" algn="ctr">
          <a:solidFill>
            <a:srgbClr val="FF0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25400" rIns="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>
              <a:solidFill>
                <a:schemeClr val="tx1"/>
              </a:solidFill>
            </a:rPr>
            <a:t>Communiquer</a:t>
          </a:r>
        </a:p>
      </dsp:txBody>
      <dsp:txXfrm>
        <a:off x="5855074" y="221190"/>
        <a:ext cx="1074193" cy="922393"/>
      </dsp:txXfrm>
    </dsp:sp>
    <dsp:sp modelId="{D53F2204-02EC-4E60-A56D-04085AFD7FD5}">
      <dsp:nvSpPr>
        <dsp:cNvPr id="0" name=""/>
        <dsp:cNvSpPr/>
      </dsp:nvSpPr>
      <dsp:spPr>
        <a:xfrm>
          <a:off x="6960726" y="1210400"/>
          <a:ext cx="181541" cy="156613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319EA8A-A161-4F10-90C9-3D43636BFF64}">
      <dsp:nvSpPr>
        <dsp:cNvPr id="0" name=""/>
        <dsp:cNvSpPr/>
      </dsp:nvSpPr>
      <dsp:spPr>
        <a:xfrm>
          <a:off x="6953299" y="759833"/>
          <a:ext cx="1556307" cy="1336377"/>
        </a:xfrm>
        <a:prstGeom prst="flowChartConnector">
          <a:avLst/>
        </a:prstGeom>
        <a:blipFill rotWithShape="1">
          <a:blip xmlns:r="http://schemas.openxmlformats.org/officeDocument/2006/relationships" r:embed="rId3"/>
          <a:srcRect/>
          <a:stretch>
            <a:fillRect l="-28000" r="-28000"/>
          </a:stretch>
        </a:blipFill>
        <a:ln w="25400" cap="flat" cmpd="sng" algn="ctr">
          <a:solidFill>
            <a:srgbClr val="FF0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C005689-A662-4E24-B576-14D0D8741CB6}">
      <dsp:nvSpPr>
        <dsp:cNvPr id="0" name=""/>
        <dsp:cNvSpPr/>
      </dsp:nvSpPr>
      <dsp:spPr>
        <a:xfrm>
          <a:off x="7263570" y="534341"/>
          <a:ext cx="181541" cy="156613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9AE448B-A994-47ED-87C3-DB2DF4106310}">
      <dsp:nvSpPr>
        <dsp:cNvPr id="0" name=""/>
        <dsp:cNvSpPr/>
      </dsp:nvSpPr>
      <dsp:spPr>
        <a:xfrm>
          <a:off x="6953299" y="2234753"/>
          <a:ext cx="1556307" cy="1336377"/>
        </a:xfrm>
        <a:prstGeom prst="hexagon">
          <a:avLst>
            <a:gd name="adj" fmla="val 25000"/>
            <a:gd name="vf" fmla="val 115470"/>
          </a:avLst>
        </a:prstGeom>
        <a:solidFill>
          <a:schemeClr val="accent2">
            <a:lumMod val="20000"/>
            <a:lumOff val="80000"/>
          </a:schemeClr>
        </a:solidFill>
        <a:ln w="25400" cap="flat" cmpd="sng" algn="ctr">
          <a:solidFill>
            <a:srgbClr val="FF0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25400" rIns="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>
              <a:solidFill>
                <a:schemeClr val="tx1"/>
              </a:solidFill>
            </a:rPr>
            <a:t>Innover 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>
              <a:solidFill>
                <a:schemeClr val="tx1"/>
              </a:solidFill>
            </a:rPr>
            <a:t>&amp; Dématérialiser</a:t>
          </a:r>
        </a:p>
      </dsp:txBody>
      <dsp:txXfrm>
        <a:off x="7194356" y="2441745"/>
        <a:ext cx="1074193" cy="922393"/>
      </dsp:txXfrm>
    </dsp:sp>
    <dsp:sp modelId="{5D91BF17-1402-45F8-9345-05856B3FFD5C}">
      <dsp:nvSpPr>
        <dsp:cNvPr id="0" name=""/>
        <dsp:cNvSpPr/>
      </dsp:nvSpPr>
      <dsp:spPr>
        <a:xfrm>
          <a:off x="7261920" y="3713393"/>
          <a:ext cx="181541" cy="156613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BB6505C-7BDF-4A51-867F-D9B674C2795B}">
      <dsp:nvSpPr>
        <dsp:cNvPr id="0" name=""/>
        <dsp:cNvSpPr/>
      </dsp:nvSpPr>
      <dsp:spPr>
        <a:xfrm>
          <a:off x="5614017" y="2966189"/>
          <a:ext cx="1556307" cy="1336377"/>
        </a:xfrm>
        <a:prstGeom prst="hexagon">
          <a:avLst>
            <a:gd name="adj" fmla="val 25000"/>
            <a:gd name="vf" fmla="val 115470"/>
          </a:avLst>
        </a:prstGeom>
        <a:solidFill>
          <a:schemeClr val="accent2">
            <a:lumMod val="20000"/>
            <a:lumOff val="80000"/>
            <a:alpha val="90000"/>
          </a:schemeClr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F1148CE-A7DC-471E-A984-CEB188E9E5E5}">
      <dsp:nvSpPr>
        <dsp:cNvPr id="0" name=""/>
        <dsp:cNvSpPr/>
      </dsp:nvSpPr>
      <dsp:spPr>
        <a:xfrm flipV="1">
          <a:off x="4019915" y="4244726"/>
          <a:ext cx="181541" cy="57840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063342B-C37C-4694-8403-96B2A88CD2A9}">
      <dsp:nvSpPr>
        <dsp:cNvPr id="0" name=""/>
        <dsp:cNvSpPr/>
      </dsp:nvSpPr>
      <dsp:spPr>
        <a:xfrm rot="5400000">
          <a:off x="-240620" y="254378"/>
          <a:ext cx="1604134" cy="1122894"/>
        </a:xfrm>
        <a:prstGeom prst="chevron">
          <a:avLst/>
        </a:prstGeom>
        <a:solidFill>
          <a:schemeClr val="accent6"/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1" kern="1200" dirty="0">
              <a:solidFill>
                <a:schemeClr val="tx1"/>
              </a:solidFill>
            </a:rPr>
            <a:t>Mobiliser les bénévoles</a:t>
          </a:r>
        </a:p>
      </dsp:txBody>
      <dsp:txXfrm rot="-5400000">
        <a:off x="0" y="575205"/>
        <a:ext cx="1122894" cy="481240"/>
      </dsp:txXfrm>
    </dsp:sp>
    <dsp:sp modelId="{6ADD32F7-2E21-4861-8F9F-E76D10733F4C}">
      <dsp:nvSpPr>
        <dsp:cNvPr id="0" name=""/>
        <dsp:cNvSpPr/>
      </dsp:nvSpPr>
      <dsp:spPr>
        <a:xfrm rot="5400000">
          <a:off x="3967490" y="-2830837"/>
          <a:ext cx="1042687" cy="673187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§"/>
          </a:pPr>
          <a:r>
            <a:rPr lang="fr-FR" sz="1400" b="0" i="0" u="none" strike="noStrike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En</a:t>
          </a:r>
          <a:r>
            <a:rPr lang="fr-FR" sz="1400" b="0" i="0" u="none" strike="noStrike" kern="1200" baseline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expliquant</a:t>
          </a:r>
          <a:r>
            <a:rPr lang="fr-FR" sz="1400" b="0" i="0" u="none" strike="noStrike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les fondements d'une association et l'importance des bénévoles</a:t>
          </a:r>
          <a:endParaRPr lang="fr-FR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§"/>
          </a:pPr>
          <a:r>
            <a:rPr lang="fr-FR" sz="1400" b="0" i="0" u="none" strike="noStrike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Lors d’évènements et de compétitions organisés à HERBLAY</a:t>
          </a:r>
          <a:endParaRPr lang="fr-FR" sz="1400" kern="1200" dirty="0"/>
        </a:p>
      </dsp:txBody>
      <dsp:txXfrm rot="-5400000">
        <a:off x="1122894" y="64659"/>
        <a:ext cx="6680979" cy="940887"/>
      </dsp:txXfrm>
    </dsp:sp>
    <dsp:sp modelId="{9AEF19E6-D631-41BC-A3BD-4C7734F70E07}">
      <dsp:nvSpPr>
        <dsp:cNvPr id="0" name=""/>
        <dsp:cNvSpPr/>
      </dsp:nvSpPr>
      <dsp:spPr>
        <a:xfrm rot="5400000">
          <a:off x="-240620" y="1984327"/>
          <a:ext cx="1604134" cy="1122894"/>
        </a:xfrm>
        <a:prstGeom prst="chevron">
          <a:avLst/>
        </a:prstGeom>
        <a:solidFill>
          <a:schemeClr val="accent6">
            <a:lumMod val="60000"/>
            <a:lumOff val="4000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lang="fr-FR" sz="1400" b="1" kern="1200" dirty="0">
              <a:solidFill>
                <a:schemeClr val="tx1"/>
              </a:solidFill>
              <a:latin typeface="+mn-lt"/>
              <a:ea typeface="+mn-ea"/>
              <a:cs typeface="+mn-cs"/>
            </a:rPr>
            <a:t>Attirer et fidéliser</a:t>
          </a:r>
          <a:endParaRPr lang="fr-FR" sz="1400" kern="1200" dirty="0">
            <a:solidFill>
              <a:schemeClr val="tx1"/>
            </a:solidFill>
          </a:endParaRPr>
        </a:p>
      </dsp:txBody>
      <dsp:txXfrm rot="-5400000">
        <a:off x="0" y="2305154"/>
        <a:ext cx="1122894" cy="481240"/>
      </dsp:txXfrm>
    </dsp:sp>
    <dsp:sp modelId="{9F362DF8-012B-4AFF-B79E-AE4017386FF9}">
      <dsp:nvSpPr>
        <dsp:cNvPr id="0" name=""/>
        <dsp:cNvSpPr/>
      </dsp:nvSpPr>
      <dsp:spPr>
        <a:xfrm rot="5400000">
          <a:off x="3667123" y="-1100888"/>
          <a:ext cx="1643421" cy="673187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§"/>
          </a:pPr>
          <a:r>
            <a:rPr lang="fr-FR" sz="1400" b="0" i="0" u="none" strike="noStrike" kern="1200" dirty="0">
              <a:solidFill>
                <a:srgbClr val="000000"/>
              </a:solidFill>
              <a:effectLst/>
              <a:latin typeface="+mn-lt"/>
            </a:rPr>
            <a:t>En</a:t>
          </a:r>
          <a:r>
            <a:rPr lang="fr-FR" sz="1400" b="0" i="0" u="none" strike="noStrike" kern="1200" baseline="0" dirty="0">
              <a:solidFill>
                <a:srgbClr val="000000"/>
              </a:solidFill>
              <a:effectLst/>
              <a:latin typeface="+mn-lt"/>
            </a:rPr>
            <a:t> accompagnant</a:t>
          </a:r>
          <a:r>
            <a:rPr lang="fr-FR" sz="1400" b="0" i="0" u="none" strike="noStrike" kern="1200" dirty="0">
              <a:solidFill>
                <a:srgbClr val="000000"/>
              </a:solidFill>
              <a:effectLst/>
              <a:latin typeface="+mn-lt"/>
            </a:rPr>
            <a:t> l'intégration des nouveaux adhérents</a:t>
          </a:r>
          <a:endParaRPr lang="fr-FR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lrTx/>
            <a:buSzTx/>
            <a:buFont typeface="Wingdings" panose="05000000000000000000" pitchFamily="2" charset="2"/>
            <a:buChar char="§"/>
          </a:pPr>
          <a:r>
            <a:rPr lang="fr-FR" sz="1400" b="0" i="0" u="none" strike="noStrike" kern="1200" dirty="0">
              <a:solidFill>
                <a:srgbClr val="000000"/>
              </a:solidFill>
              <a:effectLst/>
              <a:latin typeface="+mn-lt"/>
            </a:rPr>
            <a:t>Autour de démonstrations et de portes ouvertes</a:t>
          </a:r>
          <a:endParaRPr lang="fr-FR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lrTx/>
            <a:buSzTx/>
            <a:buFont typeface="Wingdings" panose="05000000000000000000" pitchFamily="2" charset="2"/>
            <a:buChar char="§"/>
          </a:pPr>
          <a:r>
            <a:rPr lang="fr-FR" sz="1400" b="0" i="0" u="none" strike="noStrike" kern="1200" dirty="0">
              <a:solidFill>
                <a:srgbClr val="000000"/>
              </a:solidFill>
              <a:effectLst/>
              <a:latin typeface="+mn-lt"/>
            </a:rPr>
            <a:t>Autour de Paris 2024</a:t>
          </a:r>
          <a:endParaRPr lang="fr-FR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lrTx/>
            <a:buSzTx/>
            <a:buFont typeface="Wingdings" panose="05000000000000000000" pitchFamily="2" charset="2"/>
            <a:buChar char="§"/>
          </a:pPr>
          <a:r>
            <a:rPr lang="fr-FR" sz="1400" b="0" i="0" u="none" strike="noStrike" kern="1200" dirty="0">
              <a:solidFill>
                <a:srgbClr val="000000"/>
              </a:solidFill>
              <a:effectLst/>
              <a:latin typeface="+mn-lt"/>
            </a:rPr>
            <a:t>En lien avec les écoles et les collèges</a:t>
          </a:r>
          <a:endParaRPr lang="fr-FR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lrTx/>
            <a:buSzTx/>
            <a:buFont typeface="Wingdings" panose="05000000000000000000" pitchFamily="2" charset="2"/>
            <a:buChar char="§"/>
          </a:pPr>
          <a:r>
            <a:rPr lang="fr-FR" sz="1400" b="0" i="0" u="none" strike="noStrike" kern="1200" dirty="0">
              <a:solidFill>
                <a:srgbClr val="000000"/>
              </a:solidFill>
              <a:effectLst/>
              <a:latin typeface="+mn-lt"/>
            </a:rPr>
            <a:t>En encourageant les réinscriptions</a:t>
          </a:r>
          <a:endParaRPr lang="fr-FR" sz="1400" kern="1200" dirty="0"/>
        </a:p>
      </dsp:txBody>
      <dsp:txXfrm rot="-5400000">
        <a:off x="1122895" y="1523565"/>
        <a:ext cx="6651654" cy="1482971"/>
      </dsp:txXfrm>
    </dsp:sp>
    <dsp:sp modelId="{EF3B218F-0B98-4950-9FCD-0A30BDE22F34}">
      <dsp:nvSpPr>
        <dsp:cNvPr id="0" name=""/>
        <dsp:cNvSpPr/>
      </dsp:nvSpPr>
      <dsp:spPr>
        <a:xfrm rot="5400000">
          <a:off x="-240620" y="3545600"/>
          <a:ext cx="1604134" cy="1122894"/>
        </a:xfrm>
        <a:prstGeom prst="chevron">
          <a:avLst/>
        </a:prstGeom>
        <a:solidFill>
          <a:schemeClr val="accent6">
            <a:lumMod val="7500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1" kern="1200" dirty="0">
              <a:solidFill>
                <a:schemeClr val="tx1"/>
              </a:solidFill>
            </a:rPr>
            <a:t>Communiquer</a:t>
          </a:r>
        </a:p>
      </dsp:txBody>
      <dsp:txXfrm rot="-5400000">
        <a:off x="0" y="3866427"/>
        <a:ext cx="1122894" cy="481240"/>
      </dsp:txXfrm>
    </dsp:sp>
    <dsp:sp modelId="{C7F8EF93-B9F3-48EC-8EE5-A79F0EC80B89}">
      <dsp:nvSpPr>
        <dsp:cNvPr id="0" name=""/>
        <dsp:cNvSpPr/>
      </dsp:nvSpPr>
      <dsp:spPr>
        <a:xfrm rot="5400000">
          <a:off x="3835798" y="584329"/>
          <a:ext cx="1306070" cy="673187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§"/>
          </a:pPr>
          <a:r>
            <a:rPr lang="fr-FR" sz="1400" b="0" i="0" u="none" strike="noStrike" kern="1200" dirty="0">
              <a:solidFill>
                <a:srgbClr val="000000"/>
              </a:solidFill>
              <a:effectLst/>
              <a:latin typeface="+mn-lt"/>
            </a:rPr>
            <a:t>Grâce</a:t>
          </a:r>
          <a:r>
            <a:rPr lang="fr-FR" sz="1400" b="0" i="0" u="none" strike="noStrike" kern="1200" baseline="0" dirty="0">
              <a:solidFill>
                <a:srgbClr val="000000"/>
              </a:solidFill>
              <a:effectLst/>
              <a:latin typeface="+mn-lt"/>
            </a:rPr>
            <a:t> à une</a:t>
          </a:r>
          <a:r>
            <a:rPr lang="fr-FR" sz="1400" b="0" i="0" u="none" strike="noStrike" kern="1200" dirty="0">
              <a:solidFill>
                <a:srgbClr val="000000"/>
              </a:solidFill>
              <a:effectLst/>
              <a:latin typeface="+mn-lt"/>
            </a:rPr>
            <a:t> communication régulière et cohérente entre les différents supports (site, FB, Panneaux).</a:t>
          </a:r>
          <a:endParaRPr lang="fr-FR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§"/>
          </a:pPr>
          <a:r>
            <a:rPr lang="fr-FR" sz="1400" b="0" i="0" u="none" strike="noStrike" kern="1200" dirty="0">
              <a:solidFill>
                <a:srgbClr val="000000"/>
              </a:solidFill>
              <a:effectLst/>
              <a:latin typeface="+mn-lt"/>
            </a:rPr>
            <a:t>En</a:t>
          </a:r>
          <a:r>
            <a:rPr lang="fr-FR" sz="1400" b="0" i="0" u="none" strike="noStrike" kern="1200" baseline="0" dirty="0">
              <a:solidFill>
                <a:srgbClr val="000000"/>
              </a:solidFill>
              <a:effectLst/>
              <a:latin typeface="+mn-lt"/>
            </a:rPr>
            <a:t> créant</a:t>
          </a:r>
          <a:r>
            <a:rPr lang="fr-FR" sz="1400" b="0" i="0" u="none" strike="noStrike" kern="1200" dirty="0">
              <a:solidFill>
                <a:srgbClr val="000000"/>
              </a:solidFill>
              <a:effectLst/>
              <a:latin typeface="+mn-lt"/>
            </a:rPr>
            <a:t> des liens entre les Elus du CA, les entraineurs et les adhérents</a:t>
          </a:r>
          <a:endParaRPr lang="fr-FR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§"/>
          </a:pPr>
          <a:r>
            <a:rPr lang="fr-FR" sz="1400" b="0" i="0" u="none" strike="noStrike" kern="1200" dirty="0">
              <a:solidFill>
                <a:srgbClr val="000000"/>
              </a:solidFill>
              <a:effectLst/>
              <a:latin typeface="+mn-lt"/>
            </a:rPr>
            <a:t>En</a:t>
          </a:r>
          <a:r>
            <a:rPr lang="fr-FR" sz="1400" b="0" i="0" u="none" strike="noStrike" kern="1200" baseline="0" dirty="0">
              <a:solidFill>
                <a:srgbClr val="000000"/>
              </a:solidFill>
              <a:effectLst/>
              <a:latin typeface="+mn-lt"/>
            </a:rPr>
            <a:t> étant</a:t>
          </a:r>
          <a:r>
            <a:rPr lang="fr-FR" sz="1400" b="0" i="0" u="none" strike="noStrike" kern="1200" dirty="0">
              <a:solidFill>
                <a:srgbClr val="000000"/>
              </a:solidFill>
              <a:effectLst/>
              <a:latin typeface="+mn-lt"/>
            </a:rPr>
            <a:t> présent lors</a:t>
          </a:r>
          <a:r>
            <a:rPr lang="fr-FR" sz="1400" b="0" i="0" u="none" strike="noStrike" kern="1200" baseline="0" dirty="0">
              <a:solidFill>
                <a:srgbClr val="000000"/>
              </a:solidFill>
              <a:effectLst/>
              <a:latin typeface="+mn-lt"/>
            </a:rPr>
            <a:t> d’</a:t>
          </a:r>
          <a:r>
            <a:rPr lang="fr-FR" sz="1400" b="0" i="0" u="none" strike="noStrike" kern="1200" dirty="0">
              <a:solidFill>
                <a:srgbClr val="000000"/>
              </a:solidFill>
              <a:effectLst/>
              <a:latin typeface="+mn-lt"/>
            </a:rPr>
            <a:t>évènements locaux</a:t>
          </a:r>
          <a:endParaRPr lang="fr-FR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§"/>
          </a:pPr>
          <a:r>
            <a:rPr lang="fr-FR" sz="1400" b="0" i="0" u="none" strike="noStrike" kern="1200" dirty="0">
              <a:solidFill>
                <a:srgbClr val="000000"/>
              </a:solidFill>
              <a:effectLst/>
              <a:latin typeface="+mn-lt"/>
            </a:rPr>
            <a:t>En</a:t>
          </a:r>
          <a:r>
            <a:rPr lang="fr-FR" sz="1400" b="0" i="0" u="none" strike="noStrike" kern="1200" baseline="0" dirty="0">
              <a:solidFill>
                <a:srgbClr val="000000"/>
              </a:solidFill>
              <a:effectLst/>
              <a:latin typeface="+mn-lt"/>
            </a:rPr>
            <a:t> facilitant</a:t>
          </a:r>
          <a:r>
            <a:rPr lang="fr-FR" sz="1400" b="0" i="0" u="none" strike="noStrike" kern="1200" dirty="0">
              <a:solidFill>
                <a:srgbClr val="000000"/>
              </a:solidFill>
              <a:effectLst/>
              <a:latin typeface="+mn-lt"/>
            </a:rPr>
            <a:t> la communication entre les adhérents</a:t>
          </a:r>
          <a:endParaRPr lang="fr-FR" sz="1400" kern="1200" dirty="0"/>
        </a:p>
      </dsp:txBody>
      <dsp:txXfrm rot="-5400000">
        <a:off x="1122894" y="3360991"/>
        <a:ext cx="6668122" cy="117855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063342B-C37C-4694-8403-96B2A88CD2A9}">
      <dsp:nvSpPr>
        <dsp:cNvPr id="0" name=""/>
        <dsp:cNvSpPr/>
      </dsp:nvSpPr>
      <dsp:spPr>
        <a:xfrm rot="5400000">
          <a:off x="-237810" y="633633"/>
          <a:ext cx="1585403" cy="1109782"/>
        </a:xfrm>
        <a:prstGeom prst="chevron">
          <a:avLst/>
        </a:prstGeom>
        <a:solidFill>
          <a:schemeClr val="accent6"/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1" kern="1200" dirty="0">
              <a:solidFill>
                <a:schemeClr val="tx1"/>
              </a:solidFill>
              <a:latin typeface="+mn-lt"/>
              <a:ea typeface="+mn-ea"/>
              <a:cs typeface="+mn-cs"/>
            </a:rPr>
            <a:t>Construire et se développer</a:t>
          </a:r>
          <a:endParaRPr lang="fr-FR" sz="1400" kern="1200" dirty="0">
            <a:solidFill>
              <a:schemeClr val="tx1"/>
            </a:solidFill>
          </a:endParaRPr>
        </a:p>
      </dsp:txBody>
      <dsp:txXfrm rot="-5400000">
        <a:off x="1" y="950713"/>
        <a:ext cx="1109782" cy="475621"/>
      </dsp:txXfrm>
    </dsp:sp>
    <dsp:sp modelId="{6ADD32F7-2E21-4861-8F9F-E76D10733F4C}">
      <dsp:nvSpPr>
        <dsp:cNvPr id="0" name=""/>
        <dsp:cNvSpPr/>
      </dsp:nvSpPr>
      <dsp:spPr>
        <a:xfrm rot="5400000">
          <a:off x="3672802" y="-2539088"/>
          <a:ext cx="1774294" cy="690033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7620" rIns="7620" bIns="762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200" b="0" i="0" u="none" strike="noStrike" kern="1200" dirty="0">
              <a:solidFill>
                <a:schemeClr val="tx1"/>
              </a:solidFill>
              <a:effectLst/>
              <a:latin typeface="+mn-lt"/>
            </a:rPr>
            <a:t>Autour de l'élan Paris 2024</a:t>
          </a:r>
          <a:endParaRPr lang="fr-FR" sz="1200" kern="1200" dirty="0">
            <a:solidFill>
              <a:schemeClr val="tx1"/>
            </a:solidFill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200" b="0" i="0" u="none" strike="noStrike" kern="1200" dirty="0">
              <a:solidFill>
                <a:srgbClr val="000000"/>
              </a:solidFill>
              <a:effectLst/>
              <a:latin typeface="+mn-lt"/>
            </a:rPr>
            <a:t>Grâce à un</a:t>
          </a:r>
          <a:r>
            <a:rPr lang="fr-FR" sz="1200" b="0" i="0" u="none" strike="noStrike" kern="1200" baseline="0" dirty="0">
              <a:solidFill>
                <a:srgbClr val="000000"/>
              </a:solidFill>
              <a:effectLst/>
              <a:latin typeface="+mn-lt"/>
            </a:rPr>
            <a:t> </a:t>
          </a:r>
          <a:r>
            <a:rPr lang="fr-FR" sz="1200" b="0" i="0" u="none" strike="noStrike" kern="1200" dirty="0">
              <a:solidFill>
                <a:srgbClr val="000000"/>
              </a:solidFill>
              <a:effectLst/>
              <a:latin typeface="+mn-lt"/>
            </a:rPr>
            <a:t>Plan de développement adapté aux moyens (humains, financiers) et aux ambitions</a:t>
          </a:r>
          <a:endParaRPr lang="fr-FR" sz="1200" kern="1200" dirty="0">
            <a:solidFill>
              <a:schemeClr val="tx1"/>
            </a:solidFill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200" b="0" i="0" u="none" strike="noStrike" kern="1200" dirty="0">
              <a:solidFill>
                <a:schemeClr val="tx1"/>
              </a:solidFill>
              <a:effectLst/>
              <a:latin typeface="+mn-lt"/>
            </a:rPr>
            <a:t>Grâce</a:t>
          </a:r>
          <a:r>
            <a:rPr lang="fr-FR" sz="1200" b="0" i="0" u="none" strike="noStrike" kern="1200" baseline="0" dirty="0">
              <a:solidFill>
                <a:schemeClr val="tx1"/>
              </a:solidFill>
              <a:effectLst/>
              <a:latin typeface="+mn-lt"/>
            </a:rPr>
            <a:t> à</a:t>
          </a:r>
          <a:r>
            <a:rPr lang="fr-FR" sz="1200" b="0" i="0" u="none" strike="noStrike" kern="1200" dirty="0">
              <a:solidFill>
                <a:schemeClr val="tx1"/>
              </a:solidFill>
              <a:effectLst/>
              <a:latin typeface="+mn-lt"/>
            </a:rPr>
            <a:t> un plan d'investissements matériels et équipements </a:t>
          </a:r>
          <a:endParaRPr lang="fr-FR" sz="1200" kern="1200" dirty="0">
            <a:solidFill>
              <a:schemeClr val="tx1"/>
            </a:solidFill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200" b="0" i="0" u="none" strike="noStrike" kern="1200" dirty="0">
              <a:solidFill>
                <a:schemeClr val="tx1"/>
              </a:solidFill>
              <a:effectLst/>
              <a:latin typeface="+mn-lt"/>
            </a:rPr>
            <a:t>Au travers de Commissions avec rôles bien définis et communiqués en utilisant les compétences de chacun</a:t>
          </a:r>
          <a:endParaRPr lang="fr-FR" sz="1200" kern="1200" dirty="0">
            <a:solidFill>
              <a:schemeClr val="tx1"/>
            </a:solidFill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200" b="0" i="0" u="none" strike="noStrike" kern="1200" dirty="0">
              <a:solidFill>
                <a:schemeClr val="tx1"/>
              </a:solidFill>
              <a:effectLst/>
              <a:latin typeface="+mn-lt"/>
            </a:rPr>
            <a:t>En obtenant des labels en GAM et en BAD</a:t>
          </a:r>
          <a:endParaRPr lang="fr-FR" sz="1200" kern="1200" dirty="0">
            <a:solidFill>
              <a:schemeClr val="tx1"/>
            </a:solidFill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200" b="0" i="0" u="none" strike="noStrike" kern="1200" dirty="0">
              <a:solidFill>
                <a:schemeClr val="tx1"/>
              </a:solidFill>
              <a:effectLst/>
              <a:latin typeface="+mn-lt"/>
            </a:rPr>
            <a:t>En organisant des compétitions à HERBLAY</a:t>
          </a:r>
          <a:endParaRPr lang="fr-FR" sz="1200" kern="1200" dirty="0">
            <a:solidFill>
              <a:schemeClr val="tx1"/>
            </a:solidFill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200" b="0" i="0" u="none" strike="noStrike" kern="1200" dirty="0">
              <a:solidFill>
                <a:schemeClr val="tx1"/>
              </a:solidFill>
              <a:effectLst/>
              <a:latin typeface="+mn-lt"/>
            </a:rPr>
            <a:t>Trouver des sponsors et développer le mécénat en tissant des liens avec les entreprises locales</a:t>
          </a:r>
          <a:endParaRPr lang="fr-FR" sz="1200" kern="1200" dirty="0">
            <a:solidFill>
              <a:schemeClr val="tx1"/>
            </a:solidFill>
          </a:endParaRPr>
        </a:p>
        <a:p>
          <a:pPr marL="57150" lvl="1" indent="-57150" algn="l" defTabSz="2667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fr-FR" sz="600" kern="1200" dirty="0"/>
        </a:p>
      </dsp:txBody>
      <dsp:txXfrm rot="-5400000">
        <a:off x="1109782" y="110546"/>
        <a:ext cx="6813720" cy="1601066"/>
      </dsp:txXfrm>
    </dsp:sp>
    <dsp:sp modelId="{9AEF19E6-D631-41BC-A3BD-4C7734F70E07}">
      <dsp:nvSpPr>
        <dsp:cNvPr id="0" name=""/>
        <dsp:cNvSpPr/>
      </dsp:nvSpPr>
      <dsp:spPr>
        <a:xfrm rot="5400000">
          <a:off x="-237810" y="2350750"/>
          <a:ext cx="1585403" cy="1109782"/>
        </a:xfrm>
        <a:prstGeom prst="chevron">
          <a:avLst/>
        </a:prstGeom>
        <a:solidFill>
          <a:schemeClr val="accent6">
            <a:lumMod val="60000"/>
            <a:lumOff val="4000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lang="fr-FR" sz="1400" b="1" kern="1200" dirty="0">
              <a:solidFill>
                <a:schemeClr val="tx1"/>
              </a:solidFill>
              <a:latin typeface="+mn-lt"/>
              <a:ea typeface="+mn-ea"/>
              <a:cs typeface="+mn-cs"/>
            </a:rPr>
            <a:t>Pratiquer et Progresser</a:t>
          </a:r>
          <a:endParaRPr lang="fr-FR" sz="1400" b="1" kern="1200" dirty="0">
            <a:solidFill>
              <a:schemeClr val="tx1"/>
            </a:solidFill>
          </a:endParaRPr>
        </a:p>
      </dsp:txBody>
      <dsp:txXfrm rot="-5400000">
        <a:off x="1" y="2667830"/>
        <a:ext cx="1109782" cy="475621"/>
      </dsp:txXfrm>
    </dsp:sp>
    <dsp:sp modelId="{9F362DF8-012B-4AFF-B79E-AE4017386FF9}">
      <dsp:nvSpPr>
        <dsp:cNvPr id="0" name=""/>
        <dsp:cNvSpPr/>
      </dsp:nvSpPr>
      <dsp:spPr>
        <a:xfrm rot="5400000">
          <a:off x="3747833" y="-821971"/>
          <a:ext cx="1624231" cy="690033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7620" rIns="7620" bIns="762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§"/>
          </a:pPr>
          <a:r>
            <a:rPr lang="fr-FR" sz="1200" b="0" i="0" u="none" strike="noStrike" kern="1200" dirty="0">
              <a:solidFill>
                <a:schemeClr val="tx1"/>
              </a:solidFill>
              <a:effectLst/>
              <a:latin typeface="Calibri" panose="020F0502020204030204" pitchFamily="34" charset="0"/>
            </a:rPr>
            <a:t>En accompagnant les changements de groupes de niveau</a:t>
          </a:r>
          <a:endParaRPr lang="fr-FR" sz="1200" kern="1200" dirty="0">
            <a:solidFill>
              <a:schemeClr val="tx1"/>
            </a:solidFill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lrTx/>
            <a:buSzTx/>
            <a:buFont typeface="Wingdings" panose="05000000000000000000" pitchFamily="2" charset="2"/>
            <a:buChar char="§"/>
          </a:pPr>
          <a:r>
            <a:rPr lang="fr-FR" sz="1200" b="0" i="0" u="none" strike="noStrike" kern="1200" dirty="0">
              <a:solidFill>
                <a:schemeClr val="tx1"/>
              </a:solidFill>
              <a:effectLst/>
              <a:latin typeface="Calibri" panose="020F0502020204030204" pitchFamily="34" charset="0"/>
            </a:rPr>
            <a:t>Avec mise en place des préconisations des Fédérations, Ligues, Comités</a:t>
          </a:r>
          <a:endParaRPr lang="fr-FR" sz="1200" kern="1200" dirty="0">
            <a:solidFill>
              <a:schemeClr val="tx1"/>
            </a:solidFill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lrTx/>
            <a:buSzTx/>
            <a:buFont typeface="Wingdings" panose="05000000000000000000" pitchFamily="2" charset="2"/>
            <a:buChar char="§"/>
          </a:pPr>
          <a:r>
            <a:rPr lang="fr-FR" sz="1200" b="0" i="0" u="none" strike="noStrike" kern="1200" dirty="0">
              <a:solidFill>
                <a:schemeClr val="tx1"/>
              </a:solidFill>
              <a:effectLst/>
              <a:latin typeface="Calibri" panose="020F0502020204030204" pitchFamily="34" charset="0"/>
            </a:rPr>
            <a:t>En organisant des déplacements collectifs (tournois, tournoi en province)</a:t>
          </a:r>
          <a:endParaRPr lang="fr-FR" sz="1200" kern="1200" dirty="0">
            <a:solidFill>
              <a:schemeClr val="tx1"/>
            </a:solidFill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lrTx/>
            <a:buSzTx/>
            <a:buFont typeface="Wingdings" panose="05000000000000000000" pitchFamily="2" charset="2"/>
            <a:buChar char="§"/>
          </a:pPr>
          <a:r>
            <a:rPr lang="fr-FR" sz="1200" b="0" i="0" u="none" strike="noStrike" kern="1200" dirty="0">
              <a:solidFill>
                <a:schemeClr val="tx1"/>
              </a:solidFill>
              <a:effectLst/>
              <a:latin typeface="Calibri" panose="020F0502020204030204" pitchFamily="34" charset="0"/>
            </a:rPr>
            <a:t>En</a:t>
          </a:r>
          <a:r>
            <a:rPr lang="fr-FR" sz="1200" b="0" i="0" u="none" strike="noStrike" kern="1200" baseline="0" dirty="0">
              <a:solidFill>
                <a:schemeClr val="tx1"/>
              </a:solidFill>
              <a:effectLst/>
              <a:latin typeface="Calibri" panose="020F0502020204030204" pitchFamily="34" charset="0"/>
            </a:rPr>
            <a:t> organisant</a:t>
          </a:r>
          <a:r>
            <a:rPr lang="fr-FR" sz="1200" b="0" i="0" u="none" strike="noStrike" kern="1200" dirty="0">
              <a:solidFill>
                <a:schemeClr val="tx1"/>
              </a:solidFill>
              <a:effectLst/>
              <a:latin typeface="Calibri" panose="020F0502020204030204" pitchFamily="34" charset="0"/>
            </a:rPr>
            <a:t> et en participant à des stages</a:t>
          </a:r>
          <a:endParaRPr lang="fr-FR" sz="1200" kern="1200" dirty="0">
            <a:solidFill>
              <a:schemeClr val="tx1"/>
            </a:solidFill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§"/>
          </a:pPr>
          <a:r>
            <a:rPr lang="fr-FR" sz="1200" b="0" i="0" u="none" strike="noStrike" kern="1200" dirty="0">
              <a:solidFill>
                <a:schemeClr val="tx1"/>
              </a:solidFill>
              <a:effectLst/>
              <a:latin typeface="Calibri" panose="020F0502020204030204" pitchFamily="34" charset="0"/>
            </a:rPr>
            <a:t>En</a:t>
          </a:r>
          <a:r>
            <a:rPr lang="fr-FR" sz="1200" b="0" i="0" u="none" strike="noStrike" kern="1200" baseline="0" dirty="0">
              <a:solidFill>
                <a:schemeClr val="tx1"/>
              </a:solidFill>
              <a:effectLst/>
              <a:latin typeface="Calibri" panose="020F0502020204030204" pitchFamily="34" charset="0"/>
            </a:rPr>
            <a:t> r</a:t>
          </a:r>
          <a:r>
            <a:rPr lang="fr-FR" sz="1200" b="0" i="0" u="none" strike="noStrike" kern="1200" dirty="0">
              <a:solidFill>
                <a:schemeClr val="tx1"/>
              </a:solidFill>
              <a:effectLst/>
              <a:latin typeface="Calibri" panose="020F0502020204030204" pitchFamily="34" charset="0"/>
            </a:rPr>
            <a:t>enforçant les liens avec les clubs proches</a:t>
          </a:r>
          <a:endParaRPr lang="fr-FR" sz="1200" kern="1200" dirty="0">
            <a:solidFill>
              <a:schemeClr val="tx1"/>
            </a:solidFill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lrTx/>
            <a:buSzTx/>
            <a:buFont typeface="Wingdings" panose="05000000000000000000" pitchFamily="2" charset="2"/>
            <a:buChar char="§"/>
          </a:pPr>
          <a:r>
            <a:rPr lang="fr-FR" sz="1200" b="0" i="0" u="none" strike="noStrike" kern="1200" dirty="0">
              <a:solidFill>
                <a:schemeClr val="tx1"/>
              </a:solidFill>
              <a:effectLst/>
              <a:latin typeface="Calibri" panose="020F0502020204030204" pitchFamily="34" charset="0"/>
            </a:rPr>
            <a:t>En</a:t>
          </a:r>
          <a:r>
            <a:rPr lang="fr-FR" sz="1200" b="0" i="0" u="none" strike="noStrike" kern="1200" baseline="0" dirty="0">
              <a:solidFill>
                <a:schemeClr val="tx1"/>
              </a:solidFill>
              <a:effectLst/>
              <a:latin typeface="Calibri" panose="020F0502020204030204" pitchFamily="34" charset="0"/>
            </a:rPr>
            <a:t> définissant</a:t>
          </a:r>
          <a:r>
            <a:rPr lang="fr-FR" sz="1200" b="0" i="0" u="none" strike="noStrike" kern="1200" dirty="0">
              <a:solidFill>
                <a:schemeClr val="tx1"/>
              </a:solidFill>
              <a:effectLst/>
              <a:latin typeface="Calibri" panose="020F0502020204030204" pitchFamily="34" charset="0"/>
            </a:rPr>
            <a:t>  des ambitions de niveau du club à 3 ans</a:t>
          </a:r>
          <a:endParaRPr lang="fr-FR" sz="1200" kern="1200" dirty="0">
            <a:solidFill>
              <a:schemeClr val="tx1"/>
            </a:solidFill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lrTx/>
            <a:buSzTx/>
            <a:buFont typeface="Arial" panose="020B0604020202020204" pitchFamily="34" charset="0"/>
            <a:buChar char="•"/>
          </a:pPr>
          <a:endParaRPr lang="fr-FR" sz="1000" kern="1200" dirty="0"/>
        </a:p>
      </dsp:txBody>
      <dsp:txXfrm rot="-5400000">
        <a:off x="1109782" y="1895368"/>
        <a:ext cx="6821046" cy="1465655"/>
      </dsp:txXfrm>
    </dsp:sp>
    <dsp:sp modelId="{EF3B218F-0B98-4950-9FCD-0A30BDE22F34}">
      <dsp:nvSpPr>
        <dsp:cNvPr id="0" name=""/>
        <dsp:cNvSpPr/>
      </dsp:nvSpPr>
      <dsp:spPr>
        <a:xfrm rot="5400000">
          <a:off x="-237810" y="3771007"/>
          <a:ext cx="1585403" cy="1109782"/>
        </a:xfrm>
        <a:prstGeom prst="chevron">
          <a:avLst/>
        </a:prstGeom>
        <a:solidFill>
          <a:schemeClr val="accent6">
            <a:lumMod val="7500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1" kern="1200" dirty="0">
              <a:solidFill>
                <a:schemeClr val="tx1"/>
              </a:solidFill>
            </a:rPr>
            <a:t>Innover et dématérialiser</a:t>
          </a:r>
        </a:p>
      </dsp:txBody>
      <dsp:txXfrm rot="-5400000">
        <a:off x="1" y="4088087"/>
        <a:ext cx="1109782" cy="475621"/>
      </dsp:txXfrm>
    </dsp:sp>
    <dsp:sp modelId="{C7F8EF93-B9F3-48EC-8EE5-A79F0EC80B89}">
      <dsp:nvSpPr>
        <dsp:cNvPr id="0" name=""/>
        <dsp:cNvSpPr/>
      </dsp:nvSpPr>
      <dsp:spPr>
        <a:xfrm rot="5400000">
          <a:off x="4044693" y="598285"/>
          <a:ext cx="1030512" cy="690033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7620" rIns="7620" bIns="762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§"/>
          </a:pPr>
          <a:r>
            <a:rPr lang="fr-FR" sz="1200" b="0" i="0" u="none" strike="noStrike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En</a:t>
          </a:r>
          <a:r>
            <a:rPr lang="fr-FR" sz="1200" b="0" i="0" u="none" strike="noStrike" kern="1200" baseline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développant</a:t>
          </a:r>
          <a:r>
            <a:rPr lang="fr-FR" sz="1200" b="0" i="0" u="none" strike="noStrike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l'approche RSE : </a:t>
          </a:r>
          <a:r>
            <a:rPr lang="fr-FR" sz="1200" b="0" i="0" u="none" strike="noStrike" kern="1200" dirty="0">
              <a:solidFill>
                <a:srgbClr val="92D050"/>
              </a:solidFill>
              <a:effectLst/>
              <a:latin typeface="Calibri" panose="020F0502020204030204" pitchFamily="34" charset="0"/>
            </a:rPr>
            <a:t>ex recyclage volants avec Décathlon / </a:t>
          </a:r>
          <a:r>
            <a:rPr lang="fr-FR" sz="1200" b="0" i="0" u="none" strike="noStrike" kern="1200" dirty="0" err="1">
              <a:solidFill>
                <a:srgbClr val="92D050"/>
              </a:solidFill>
              <a:effectLst/>
              <a:latin typeface="Calibri" panose="020F0502020204030204" pitchFamily="34" charset="0"/>
            </a:rPr>
            <a:t>Compo’plumes</a:t>
          </a:r>
          <a:endParaRPr lang="fr-FR" sz="1200" kern="1200" dirty="0">
            <a:solidFill>
              <a:srgbClr val="92D050"/>
            </a:solidFill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§"/>
          </a:pPr>
          <a:r>
            <a:rPr lang="fr-FR" sz="1200" b="0" i="0" u="none" strike="noStrike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En proposant</a:t>
          </a:r>
          <a:r>
            <a:rPr lang="fr-FR" sz="1200" b="0" i="0" u="none" strike="noStrike" kern="1200" baseline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les </a:t>
          </a:r>
          <a:r>
            <a:rPr lang="fr-FR" sz="1200" b="0" i="0" u="none" strike="noStrike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Inscriptions dématérialisées</a:t>
          </a:r>
          <a:endParaRPr lang="fr-F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§"/>
          </a:pPr>
          <a:r>
            <a:rPr lang="fr-FR" sz="1200" b="0" i="0" u="none" strike="noStrike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En</a:t>
          </a:r>
          <a:r>
            <a:rPr lang="fr-FR" sz="1200" b="0" i="0" u="none" strike="noStrike" kern="1200" baseline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d</a:t>
          </a:r>
          <a:r>
            <a:rPr lang="fr-FR" sz="1200" b="0" i="0" u="none" strike="noStrike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éveloppant la communication numérique</a:t>
          </a:r>
          <a:endParaRPr lang="fr-F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lrTx/>
            <a:buSzTx/>
            <a:buFont typeface="Wingdings" panose="05000000000000000000" pitchFamily="2" charset="2"/>
            <a:buChar char="§"/>
          </a:pPr>
          <a:r>
            <a:rPr lang="fr-FR" sz="1200" b="0" i="0" u="none" strike="noStrike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Mise en place de reçus fiscaux</a:t>
          </a:r>
          <a:endParaRPr lang="fr-FR" sz="1200" kern="1200" dirty="0"/>
        </a:p>
      </dsp:txBody>
      <dsp:txXfrm rot="-5400000">
        <a:off x="1109783" y="3583501"/>
        <a:ext cx="6850029" cy="929902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940BDDF-1FEF-41BF-B9E9-0FFE3926A970}">
      <dsp:nvSpPr>
        <dsp:cNvPr id="0" name=""/>
        <dsp:cNvSpPr/>
      </dsp:nvSpPr>
      <dsp:spPr>
        <a:xfrm>
          <a:off x="-5519203" y="-845012"/>
          <a:ext cx="6571491" cy="6571491"/>
        </a:xfrm>
        <a:prstGeom prst="blockArc">
          <a:avLst>
            <a:gd name="adj1" fmla="val 18900000"/>
            <a:gd name="adj2" fmla="val 2700000"/>
            <a:gd name="adj3" fmla="val 329"/>
          </a:avLst>
        </a:pr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4C74578-773C-4297-A4DE-1398F67BB91C}">
      <dsp:nvSpPr>
        <dsp:cNvPr id="0" name=""/>
        <dsp:cNvSpPr/>
      </dsp:nvSpPr>
      <dsp:spPr>
        <a:xfrm>
          <a:off x="460077" y="330654"/>
          <a:ext cx="8083810" cy="610378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448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Rapport moral du Président : bilan et projet 2021-2024</a:t>
          </a:r>
        </a:p>
      </dsp:txBody>
      <dsp:txXfrm>
        <a:off x="460077" y="330654"/>
        <a:ext cx="8083810" cy="610378"/>
      </dsp:txXfrm>
    </dsp:sp>
    <dsp:sp modelId="{EBBCF617-4DDB-47D0-98C7-99413FA904B7}">
      <dsp:nvSpPr>
        <dsp:cNvPr id="0" name=""/>
        <dsp:cNvSpPr/>
      </dsp:nvSpPr>
      <dsp:spPr>
        <a:xfrm>
          <a:off x="78590" y="228696"/>
          <a:ext cx="762973" cy="76297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8266B62-763B-47EE-941B-BD512A93B9FC}">
      <dsp:nvSpPr>
        <dsp:cNvPr id="0" name=""/>
        <dsp:cNvSpPr/>
      </dsp:nvSpPr>
      <dsp:spPr>
        <a:xfrm>
          <a:off x="897456" y="1220269"/>
          <a:ext cx="7646430" cy="610378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448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Rapport financier de l’année 2020-2021</a:t>
          </a:r>
        </a:p>
      </dsp:txBody>
      <dsp:txXfrm>
        <a:off x="897456" y="1220269"/>
        <a:ext cx="7646430" cy="610378"/>
      </dsp:txXfrm>
    </dsp:sp>
    <dsp:sp modelId="{7A113706-4115-4E46-A0DB-BB2E4C947383}">
      <dsp:nvSpPr>
        <dsp:cNvPr id="0" name=""/>
        <dsp:cNvSpPr/>
      </dsp:nvSpPr>
      <dsp:spPr>
        <a:xfrm>
          <a:off x="515969" y="1143971"/>
          <a:ext cx="762973" cy="76297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44906E9-3C2F-4CD0-B0C9-498EF34769BF}">
      <dsp:nvSpPr>
        <dsp:cNvPr id="0" name=""/>
        <dsp:cNvSpPr/>
      </dsp:nvSpPr>
      <dsp:spPr>
        <a:xfrm>
          <a:off x="1031696" y="2135544"/>
          <a:ext cx="7512190" cy="610378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448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Élections au Conseil d’Administration </a:t>
          </a:r>
        </a:p>
      </dsp:txBody>
      <dsp:txXfrm>
        <a:off x="1031696" y="2135544"/>
        <a:ext cx="7512190" cy="610378"/>
      </dsp:txXfrm>
    </dsp:sp>
    <dsp:sp modelId="{0692BF8D-B063-4580-8A2D-225A14481CCD}">
      <dsp:nvSpPr>
        <dsp:cNvPr id="0" name=""/>
        <dsp:cNvSpPr/>
      </dsp:nvSpPr>
      <dsp:spPr>
        <a:xfrm>
          <a:off x="650210" y="2059246"/>
          <a:ext cx="762973" cy="76297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85C842E-3771-4A21-BC8F-6664E8E4209A}">
      <dsp:nvSpPr>
        <dsp:cNvPr id="0" name=""/>
        <dsp:cNvSpPr/>
      </dsp:nvSpPr>
      <dsp:spPr>
        <a:xfrm>
          <a:off x="897456" y="3050819"/>
          <a:ext cx="7646430" cy="61037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448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Budget de l’année 2021-2022</a:t>
          </a:r>
        </a:p>
      </dsp:txBody>
      <dsp:txXfrm>
        <a:off x="897456" y="3050819"/>
        <a:ext cx="7646430" cy="610378"/>
      </dsp:txXfrm>
    </dsp:sp>
    <dsp:sp modelId="{1CAC461D-769E-43F1-85D8-A86E37EE9368}">
      <dsp:nvSpPr>
        <dsp:cNvPr id="0" name=""/>
        <dsp:cNvSpPr/>
      </dsp:nvSpPr>
      <dsp:spPr>
        <a:xfrm>
          <a:off x="515969" y="2974521"/>
          <a:ext cx="762973" cy="76297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94408CD-EF85-4774-BA53-A3DB7D3C1F4C}">
      <dsp:nvSpPr>
        <dsp:cNvPr id="0" name=""/>
        <dsp:cNvSpPr/>
      </dsp:nvSpPr>
      <dsp:spPr>
        <a:xfrm>
          <a:off x="460077" y="3966094"/>
          <a:ext cx="8083810" cy="610378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448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Questions diverses</a:t>
          </a:r>
        </a:p>
      </dsp:txBody>
      <dsp:txXfrm>
        <a:off x="460077" y="3966094"/>
        <a:ext cx="8083810" cy="610378"/>
      </dsp:txXfrm>
    </dsp:sp>
    <dsp:sp modelId="{5AF5E7EE-A04D-40FC-8300-CF20EEE80831}">
      <dsp:nvSpPr>
        <dsp:cNvPr id="0" name=""/>
        <dsp:cNvSpPr/>
      </dsp:nvSpPr>
      <dsp:spPr>
        <a:xfrm>
          <a:off x="78590" y="3889796"/>
          <a:ext cx="762973" cy="76297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940BDDF-1FEF-41BF-B9E9-0FFE3926A970}">
      <dsp:nvSpPr>
        <dsp:cNvPr id="0" name=""/>
        <dsp:cNvSpPr/>
      </dsp:nvSpPr>
      <dsp:spPr>
        <a:xfrm>
          <a:off x="-5519203" y="-845012"/>
          <a:ext cx="6571491" cy="6571491"/>
        </a:xfrm>
        <a:prstGeom prst="blockArc">
          <a:avLst>
            <a:gd name="adj1" fmla="val 18900000"/>
            <a:gd name="adj2" fmla="val 2700000"/>
            <a:gd name="adj3" fmla="val 329"/>
          </a:avLst>
        </a:pr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4C74578-773C-4297-A4DE-1398F67BB91C}">
      <dsp:nvSpPr>
        <dsp:cNvPr id="0" name=""/>
        <dsp:cNvSpPr/>
      </dsp:nvSpPr>
      <dsp:spPr>
        <a:xfrm>
          <a:off x="460077" y="330654"/>
          <a:ext cx="8083810" cy="610378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448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Rapport moral du Président : bilan et projet 2021-2024</a:t>
          </a:r>
        </a:p>
      </dsp:txBody>
      <dsp:txXfrm>
        <a:off x="460077" y="330654"/>
        <a:ext cx="8083810" cy="610378"/>
      </dsp:txXfrm>
    </dsp:sp>
    <dsp:sp modelId="{EBBCF617-4DDB-47D0-98C7-99413FA904B7}">
      <dsp:nvSpPr>
        <dsp:cNvPr id="0" name=""/>
        <dsp:cNvSpPr/>
      </dsp:nvSpPr>
      <dsp:spPr>
        <a:xfrm>
          <a:off x="78590" y="228696"/>
          <a:ext cx="762973" cy="76297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8266B62-763B-47EE-941B-BD512A93B9FC}">
      <dsp:nvSpPr>
        <dsp:cNvPr id="0" name=""/>
        <dsp:cNvSpPr/>
      </dsp:nvSpPr>
      <dsp:spPr>
        <a:xfrm>
          <a:off x="897456" y="1220269"/>
          <a:ext cx="7646430" cy="610378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448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Rapport financier de l’année 2020-2021</a:t>
          </a:r>
        </a:p>
      </dsp:txBody>
      <dsp:txXfrm>
        <a:off x="897456" y="1220269"/>
        <a:ext cx="7646430" cy="610378"/>
      </dsp:txXfrm>
    </dsp:sp>
    <dsp:sp modelId="{7A113706-4115-4E46-A0DB-BB2E4C947383}">
      <dsp:nvSpPr>
        <dsp:cNvPr id="0" name=""/>
        <dsp:cNvSpPr/>
      </dsp:nvSpPr>
      <dsp:spPr>
        <a:xfrm>
          <a:off x="515969" y="1143971"/>
          <a:ext cx="762973" cy="76297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44906E9-3C2F-4CD0-B0C9-498EF34769BF}">
      <dsp:nvSpPr>
        <dsp:cNvPr id="0" name=""/>
        <dsp:cNvSpPr/>
      </dsp:nvSpPr>
      <dsp:spPr>
        <a:xfrm>
          <a:off x="1031696" y="2135544"/>
          <a:ext cx="7512190" cy="610378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448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Élections au Conseil d’Administration </a:t>
          </a:r>
        </a:p>
      </dsp:txBody>
      <dsp:txXfrm>
        <a:off x="1031696" y="2135544"/>
        <a:ext cx="7512190" cy="610378"/>
      </dsp:txXfrm>
    </dsp:sp>
    <dsp:sp modelId="{0692BF8D-B063-4580-8A2D-225A14481CCD}">
      <dsp:nvSpPr>
        <dsp:cNvPr id="0" name=""/>
        <dsp:cNvSpPr/>
      </dsp:nvSpPr>
      <dsp:spPr>
        <a:xfrm>
          <a:off x="650210" y="2059246"/>
          <a:ext cx="762973" cy="76297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85C842E-3771-4A21-BC8F-6664E8E4209A}">
      <dsp:nvSpPr>
        <dsp:cNvPr id="0" name=""/>
        <dsp:cNvSpPr/>
      </dsp:nvSpPr>
      <dsp:spPr>
        <a:xfrm>
          <a:off x="897456" y="3050819"/>
          <a:ext cx="7646430" cy="61037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448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Budget de l’année 2021-2022</a:t>
          </a:r>
        </a:p>
      </dsp:txBody>
      <dsp:txXfrm>
        <a:off x="897456" y="3050819"/>
        <a:ext cx="7646430" cy="610378"/>
      </dsp:txXfrm>
    </dsp:sp>
    <dsp:sp modelId="{1CAC461D-769E-43F1-85D8-A86E37EE9368}">
      <dsp:nvSpPr>
        <dsp:cNvPr id="0" name=""/>
        <dsp:cNvSpPr/>
      </dsp:nvSpPr>
      <dsp:spPr>
        <a:xfrm>
          <a:off x="515969" y="2974521"/>
          <a:ext cx="762973" cy="76297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94408CD-EF85-4774-BA53-A3DB7D3C1F4C}">
      <dsp:nvSpPr>
        <dsp:cNvPr id="0" name=""/>
        <dsp:cNvSpPr/>
      </dsp:nvSpPr>
      <dsp:spPr>
        <a:xfrm>
          <a:off x="460077" y="3966094"/>
          <a:ext cx="8083810" cy="610378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448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Questions diverses</a:t>
          </a:r>
        </a:p>
      </dsp:txBody>
      <dsp:txXfrm>
        <a:off x="460077" y="3966094"/>
        <a:ext cx="8083810" cy="610378"/>
      </dsp:txXfrm>
    </dsp:sp>
    <dsp:sp modelId="{5AF5E7EE-A04D-40FC-8300-CF20EEE80831}">
      <dsp:nvSpPr>
        <dsp:cNvPr id="0" name=""/>
        <dsp:cNvSpPr/>
      </dsp:nvSpPr>
      <dsp:spPr>
        <a:xfrm>
          <a:off x="78590" y="3889796"/>
          <a:ext cx="762973" cy="76297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482DA80-51EC-45B9-84BE-90C49C8AD096}">
      <dsp:nvSpPr>
        <dsp:cNvPr id="0" name=""/>
        <dsp:cNvSpPr/>
      </dsp:nvSpPr>
      <dsp:spPr>
        <a:xfrm>
          <a:off x="3240988" y="-90823"/>
          <a:ext cx="1359460" cy="992798"/>
        </a:xfrm>
        <a:prstGeom prst="roundRect">
          <a:avLst/>
        </a:prstGeom>
        <a:solidFill>
          <a:schemeClr val="accent5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1" kern="1200" dirty="0">
              <a:solidFill>
                <a:schemeClr val="tx1"/>
              </a:solidFill>
            </a:rPr>
            <a:t>Election du Bureau et des commissions</a:t>
          </a:r>
        </a:p>
      </dsp:txBody>
      <dsp:txXfrm>
        <a:off x="3289452" y="-42359"/>
        <a:ext cx="1262532" cy="895870"/>
      </dsp:txXfrm>
    </dsp:sp>
    <dsp:sp modelId="{9DC2EF8D-6BE3-4FAF-AA5F-9B0A0222C406}">
      <dsp:nvSpPr>
        <dsp:cNvPr id="0" name=""/>
        <dsp:cNvSpPr/>
      </dsp:nvSpPr>
      <dsp:spPr>
        <a:xfrm>
          <a:off x="1771358" y="448541"/>
          <a:ext cx="4617851" cy="4617851"/>
        </a:xfrm>
        <a:custGeom>
          <a:avLst/>
          <a:gdLst/>
          <a:ahLst/>
          <a:cxnLst/>
          <a:rect l="0" t="0" r="0" b="0"/>
          <a:pathLst>
            <a:path>
              <a:moveTo>
                <a:pt x="2830990" y="59795"/>
              </a:moveTo>
              <a:arcTo wR="2308925" hR="2308925" stAng="16984080" swAng="284798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C49E872-D197-4B61-8A58-136C4AD0D6BD}">
      <dsp:nvSpPr>
        <dsp:cNvPr id="0" name=""/>
        <dsp:cNvSpPr/>
      </dsp:nvSpPr>
      <dsp:spPr>
        <a:xfrm>
          <a:off x="4788530" y="479727"/>
          <a:ext cx="1493407" cy="1129510"/>
        </a:xfrm>
        <a:prstGeom prst="roundRect">
          <a:avLst/>
        </a:prstGeom>
        <a:solidFill>
          <a:schemeClr val="accent6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1" kern="1200" dirty="0">
              <a:solidFill>
                <a:schemeClr val="tx1"/>
              </a:solidFill>
            </a:rPr>
            <a:t>Assurer le lien avec la Mairie</a:t>
          </a:r>
        </a:p>
      </dsp:txBody>
      <dsp:txXfrm>
        <a:off x="4843668" y="534865"/>
        <a:ext cx="1383131" cy="1019234"/>
      </dsp:txXfrm>
    </dsp:sp>
    <dsp:sp modelId="{5F631634-E3F0-4E98-A366-F6C12F29C29A}">
      <dsp:nvSpPr>
        <dsp:cNvPr id="0" name=""/>
        <dsp:cNvSpPr/>
      </dsp:nvSpPr>
      <dsp:spPr>
        <a:xfrm>
          <a:off x="1534576" y="214449"/>
          <a:ext cx="4617851" cy="4617851"/>
        </a:xfrm>
        <a:custGeom>
          <a:avLst/>
          <a:gdLst/>
          <a:ahLst/>
          <a:cxnLst/>
          <a:rect l="0" t="0" r="0" b="0"/>
          <a:pathLst>
            <a:path>
              <a:moveTo>
                <a:pt x="4430937" y="1398868"/>
              </a:moveTo>
              <a:arcTo wR="2308925" hR="2308925" stAng="20207231" swAng="649036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128B409-C85E-4D22-B6EE-853FF04D0F3B}">
      <dsp:nvSpPr>
        <dsp:cNvPr id="0" name=""/>
        <dsp:cNvSpPr/>
      </dsp:nvSpPr>
      <dsp:spPr>
        <a:xfrm>
          <a:off x="5403516" y="2032080"/>
          <a:ext cx="1600753" cy="1341720"/>
        </a:xfrm>
        <a:prstGeom prst="roundRect">
          <a:avLst/>
        </a:prstGeom>
        <a:solidFill>
          <a:schemeClr val="accent6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1" kern="1200" dirty="0">
              <a:solidFill>
                <a:schemeClr val="tx1"/>
              </a:solidFill>
            </a:rPr>
            <a:t>Assurer le lien avec les Fédérations</a:t>
          </a:r>
        </a:p>
      </dsp:txBody>
      <dsp:txXfrm>
        <a:off x="5469013" y="2097577"/>
        <a:ext cx="1469759" cy="1210726"/>
      </dsp:txXfrm>
    </dsp:sp>
    <dsp:sp modelId="{B9C57425-FAB0-4336-AC12-3322DB44AFA4}">
      <dsp:nvSpPr>
        <dsp:cNvPr id="0" name=""/>
        <dsp:cNvSpPr/>
      </dsp:nvSpPr>
      <dsp:spPr>
        <a:xfrm>
          <a:off x="1558607" y="501453"/>
          <a:ext cx="4617851" cy="4617851"/>
        </a:xfrm>
        <a:custGeom>
          <a:avLst/>
          <a:gdLst/>
          <a:ahLst/>
          <a:cxnLst/>
          <a:rect l="0" t="0" r="0" b="0"/>
          <a:pathLst>
            <a:path>
              <a:moveTo>
                <a:pt x="4546719" y="2877623"/>
              </a:moveTo>
              <a:arcTo wR="2308925" hR="2308925" stAng="855534" swAng="795812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E1DDB43-68A2-4889-9E8F-B0F81C2C5E00}">
      <dsp:nvSpPr>
        <dsp:cNvPr id="0" name=""/>
        <dsp:cNvSpPr/>
      </dsp:nvSpPr>
      <dsp:spPr>
        <a:xfrm>
          <a:off x="4537932" y="3882146"/>
          <a:ext cx="2030885" cy="930023"/>
        </a:xfrm>
        <a:prstGeom prst="roundRect">
          <a:avLst/>
        </a:prstGeom>
        <a:solidFill>
          <a:schemeClr val="accent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1" kern="1200" dirty="0">
              <a:solidFill>
                <a:schemeClr val="tx1"/>
              </a:solidFill>
            </a:rPr>
            <a:t>Assurer son fonctionnement en lien avec les entraîneurs</a:t>
          </a:r>
        </a:p>
      </dsp:txBody>
      <dsp:txXfrm>
        <a:off x="4583332" y="3927546"/>
        <a:ext cx="1940085" cy="839223"/>
      </dsp:txXfrm>
    </dsp:sp>
    <dsp:sp modelId="{51919951-C1BF-4AA5-A0A1-7CCB098650B6}">
      <dsp:nvSpPr>
        <dsp:cNvPr id="0" name=""/>
        <dsp:cNvSpPr/>
      </dsp:nvSpPr>
      <dsp:spPr>
        <a:xfrm>
          <a:off x="1611792" y="405575"/>
          <a:ext cx="4617851" cy="4617851"/>
        </a:xfrm>
        <a:custGeom>
          <a:avLst/>
          <a:gdLst/>
          <a:ahLst/>
          <a:cxnLst/>
          <a:rect l="0" t="0" r="0" b="0"/>
          <a:pathLst>
            <a:path>
              <a:moveTo>
                <a:pt x="3270394" y="4408143"/>
              </a:moveTo>
              <a:arcTo wR="2308925" hR="2308925" stAng="3923497" swAng="542423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107BC3D-E291-4D6B-997A-58BE71EC00FE}">
      <dsp:nvSpPr>
        <dsp:cNvPr id="0" name=""/>
        <dsp:cNvSpPr/>
      </dsp:nvSpPr>
      <dsp:spPr>
        <a:xfrm>
          <a:off x="3304622" y="4666534"/>
          <a:ext cx="1232190" cy="713785"/>
        </a:xfrm>
        <a:prstGeom prst="roundRect">
          <a:avLst/>
        </a:prstGeom>
        <a:solidFill>
          <a:schemeClr val="accent3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1" kern="1200" dirty="0">
              <a:solidFill>
                <a:schemeClr val="tx1"/>
              </a:solidFill>
            </a:rPr>
            <a:t>Être des relais avec les groupes</a:t>
          </a:r>
        </a:p>
      </dsp:txBody>
      <dsp:txXfrm>
        <a:off x="3339466" y="4701378"/>
        <a:ext cx="1162502" cy="644097"/>
      </dsp:txXfrm>
    </dsp:sp>
    <dsp:sp modelId="{EDB84C79-22A1-4FEC-B821-E94C8D235680}">
      <dsp:nvSpPr>
        <dsp:cNvPr id="0" name=""/>
        <dsp:cNvSpPr/>
      </dsp:nvSpPr>
      <dsp:spPr>
        <a:xfrm>
          <a:off x="1611792" y="405575"/>
          <a:ext cx="4617851" cy="4617851"/>
        </a:xfrm>
        <a:custGeom>
          <a:avLst/>
          <a:gdLst/>
          <a:ahLst/>
          <a:cxnLst/>
          <a:rect l="0" t="0" r="0" b="0"/>
          <a:pathLst>
            <a:path>
              <a:moveTo>
                <a:pt x="1689629" y="4533248"/>
              </a:moveTo>
              <a:arcTo wR="2308925" hR="2308925" stAng="6333496" swAng="485083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4645F58-E25A-40CE-90DE-4A787FC23356}">
      <dsp:nvSpPr>
        <dsp:cNvPr id="0" name=""/>
        <dsp:cNvSpPr/>
      </dsp:nvSpPr>
      <dsp:spPr>
        <a:xfrm>
          <a:off x="1584409" y="3844314"/>
          <a:ext cx="1407303" cy="1005688"/>
        </a:xfrm>
        <a:prstGeom prst="roundRect">
          <a:avLst/>
        </a:prstGeom>
        <a:solidFill>
          <a:schemeClr val="accent3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1" kern="1200" dirty="0">
              <a:solidFill>
                <a:schemeClr val="tx1"/>
              </a:solidFill>
            </a:rPr>
            <a:t>Mise en œuvre du Projet du Club</a:t>
          </a:r>
        </a:p>
      </dsp:txBody>
      <dsp:txXfrm>
        <a:off x="1633503" y="3893408"/>
        <a:ext cx="1309115" cy="907500"/>
      </dsp:txXfrm>
    </dsp:sp>
    <dsp:sp modelId="{DC6CD9BB-6173-476D-B7E5-430CD1C20B2F}">
      <dsp:nvSpPr>
        <dsp:cNvPr id="0" name=""/>
        <dsp:cNvSpPr/>
      </dsp:nvSpPr>
      <dsp:spPr>
        <a:xfrm>
          <a:off x="1611792" y="405575"/>
          <a:ext cx="4617851" cy="4617851"/>
        </a:xfrm>
        <a:custGeom>
          <a:avLst/>
          <a:gdLst/>
          <a:ahLst/>
          <a:cxnLst/>
          <a:rect l="0" t="0" r="0" b="0"/>
          <a:pathLst>
            <a:path>
              <a:moveTo>
                <a:pt x="292423" y="3433584"/>
              </a:moveTo>
              <a:arcTo wR="2308925" hR="2308925" stAng="9051024" swAng="864147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CD2FA7D-328D-4EF7-B6A3-2AB11320097B}">
      <dsp:nvSpPr>
        <dsp:cNvPr id="0" name=""/>
        <dsp:cNvSpPr/>
      </dsp:nvSpPr>
      <dsp:spPr>
        <a:xfrm>
          <a:off x="770950" y="2132468"/>
          <a:ext cx="1681682" cy="1164065"/>
        </a:xfrm>
        <a:prstGeom prst="roundRect">
          <a:avLst/>
        </a:prstGeom>
        <a:solidFill>
          <a:schemeClr val="accent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1" kern="1200" dirty="0">
              <a:solidFill>
                <a:schemeClr val="tx1"/>
              </a:solidFill>
            </a:rPr>
            <a:t>Gestion du matériel et des équipements</a:t>
          </a:r>
        </a:p>
      </dsp:txBody>
      <dsp:txXfrm>
        <a:off x="827775" y="2189293"/>
        <a:ext cx="1568032" cy="1050415"/>
      </dsp:txXfrm>
    </dsp:sp>
    <dsp:sp modelId="{E75E76DD-1C6D-42DD-992B-219B98B7CE30}">
      <dsp:nvSpPr>
        <dsp:cNvPr id="0" name=""/>
        <dsp:cNvSpPr/>
      </dsp:nvSpPr>
      <dsp:spPr>
        <a:xfrm>
          <a:off x="1611792" y="405575"/>
          <a:ext cx="4617851" cy="4617851"/>
        </a:xfrm>
        <a:custGeom>
          <a:avLst/>
          <a:gdLst/>
          <a:ahLst/>
          <a:cxnLst/>
          <a:rect l="0" t="0" r="0" b="0"/>
          <a:pathLst>
            <a:path>
              <a:moveTo>
                <a:pt x="76062" y="1721167"/>
              </a:moveTo>
              <a:arcTo wR="2308925" hR="2308925" stAng="11684848" swAng="866016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5EE52B4-AF43-4982-BEDA-233FFC9726C4}">
      <dsp:nvSpPr>
        <dsp:cNvPr id="0" name=""/>
        <dsp:cNvSpPr/>
      </dsp:nvSpPr>
      <dsp:spPr>
        <a:xfrm>
          <a:off x="1435555" y="580116"/>
          <a:ext cx="1705011" cy="1003455"/>
        </a:xfrm>
        <a:prstGeom prst="roundRect">
          <a:avLst/>
        </a:prstGeom>
        <a:solidFill>
          <a:schemeClr val="accent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1" kern="1200" dirty="0">
              <a:solidFill>
                <a:schemeClr val="tx1"/>
              </a:solidFill>
            </a:rPr>
            <a:t>Organiser les évènements</a:t>
          </a:r>
        </a:p>
      </dsp:txBody>
      <dsp:txXfrm>
        <a:off x="1484540" y="629101"/>
        <a:ext cx="1607041" cy="905485"/>
      </dsp:txXfrm>
    </dsp:sp>
    <dsp:sp modelId="{EED813DF-4BE7-46A8-BCCB-57EF9B6C306F}">
      <dsp:nvSpPr>
        <dsp:cNvPr id="0" name=""/>
        <dsp:cNvSpPr/>
      </dsp:nvSpPr>
      <dsp:spPr>
        <a:xfrm>
          <a:off x="1611792" y="405575"/>
          <a:ext cx="4617851" cy="4617851"/>
        </a:xfrm>
        <a:custGeom>
          <a:avLst/>
          <a:gdLst/>
          <a:ahLst/>
          <a:cxnLst/>
          <a:rect l="0" t="0" r="0" b="0"/>
          <a:pathLst>
            <a:path>
              <a:moveTo>
                <a:pt x="1430252" y="173727"/>
              </a:moveTo>
              <a:arcTo wR="2308925" hR="2308925" stAng="14857916" swAng="311639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940BDDF-1FEF-41BF-B9E9-0FFE3926A970}">
      <dsp:nvSpPr>
        <dsp:cNvPr id="0" name=""/>
        <dsp:cNvSpPr/>
      </dsp:nvSpPr>
      <dsp:spPr>
        <a:xfrm>
          <a:off x="-5519203" y="-845012"/>
          <a:ext cx="6571491" cy="6571491"/>
        </a:xfrm>
        <a:prstGeom prst="blockArc">
          <a:avLst>
            <a:gd name="adj1" fmla="val 18900000"/>
            <a:gd name="adj2" fmla="val 2700000"/>
            <a:gd name="adj3" fmla="val 329"/>
          </a:avLst>
        </a:pr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4C74578-773C-4297-A4DE-1398F67BB91C}">
      <dsp:nvSpPr>
        <dsp:cNvPr id="0" name=""/>
        <dsp:cNvSpPr/>
      </dsp:nvSpPr>
      <dsp:spPr>
        <a:xfrm>
          <a:off x="460077" y="330654"/>
          <a:ext cx="8083810" cy="610378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448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Rapport moral du Président : bilan et projet 2021-2024</a:t>
          </a:r>
        </a:p>
      </dsp:txBody>
      <dsp:txXfrm>
        <a:off x="460077" y="330654"/>
        <a:ext cx="8083810" cy="610378"/>
      </dsp:txXfrm>
    </dsp:sp>
    <dsp:sp modelId="{EBBCF617-4DDB-47D0-98C7-99413FA904B7}">
      <dsp:nvSpPr>
        <dsp:cNvPr id="0" name=""/>
        <dsp:cNvSpPr/>
      </dsp:nvSpPr>
      <dsp:spPr>
        <a:xfrm>
          <a:off x="78590" y="228696"/>
          <a:ext cx="762973" cy="76297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8266B62-763B-47EE-941B-BD512A93B9FC}">
      <dsp:nvSpPr>
        <dsp:cNvPr id="0" name=""/>
        <dsp:cNvSpPr/>
      </dsp:nvSpPr>
      <dsp:spPr>
        <a:xfrm>
          <a:off x="897456" y="1220269"/>
          <a:ext cx="7646430" cy="610378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448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Rapport financier de l’année 2020-2021</a:t>
          </a:r>
        </a:p>
      </dsp:txBody>
      <dsp:txXfrm>
        <a:off x="897456" y="1220269"/>
        <a:ext cx="7646430" cy="610378"/>
      </dsp:txXfrm>
    </dsp:sp>
    <dsp:sp modelId="{7A113706-4115-4E46-A0DB-BB2E4C947383}">
      <dsp:nvSpPr>
        <dsp:cNvPr id="0" name=""/>
        <dsp:cNvSpPr/>
      </dsp:nvSpPr>
      <dsp:spPr>
        <a:xfrm>
          <a:off x="515969" y="1143971"/>
          <a:ext cx="762973" cy="76297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44906E9-3C2F-4CD0-B0C9-498EF34769BF}">
      <dsp:nvSpPr>
        <dsp:cNvPr id="0" name=""/>
        <dsp:cNvSpPr/>
      </dsp:nvSpPr>
      <dsp:spPr>
        <a:xfrm>
          <a:off x="1031696" y="2135544"/>
          <a:ext cx="7512190" cy="610378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448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Élections au Conseil d’Administration </a:t>
          </a:r>
        </a:p>
      </dsp:txBody>
      <dsp:txXfrm>
        <a:off x="1031696" y="2135544"/>
        <a:ext cx="7512190" cy="610378"/>
      </dsp:txXfrm>
    </dsp:sp>
    <dsp:sp modelId="{0692BF8D-B063-4580-8A2D-225A14481CCD}">
      <dsp:nvSpPr>
        <dsp:cNvPr id="0" name=""/>
        <dsp:cNvSpPr/>
      </dsp:nvSpPr>
      <dsp:spPr>
        <a:xfrm>
          <a:off x="650210" y="2059246"/>
          <a:ext cx="762973" cy="76297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85C842E-3771-4A21-BC8F-6664E8E4209A}">
      <dsp:nvSpPr>
        <dsp:cNvPr id="0" name=""/>
        <dsp:cNvSpPr/>
      </dsp:nvSpPr>
      <dsp:spPr>
        <a:xfrm>
          <a:off x="897456" y="3050819"/>
          <a:ext cx="7646430" cy="61037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448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Budget de l’année 2021-2022</a:t>
          </a:r>
        </a:p>
      </dsp:txBody>
      <dsp:txXfrm>
        <a:off x="897456" y="3050819"/>
        <a:ext cx="7646430" cy="610378"/>
      </dsp:txXfrm>
    </dsp:sp>
    <dsp:sp modelId="{1CAC461D-769E-43F1-85D8-A86E37EE9368}">
      <dsp:nvSpPr>
        <dsp:cNvPr id="0" name=""/>
        <dsp:cNvSpPr/>
      </dsp:nvSpPr>
      <dsp:spPr>
        <a:xfrm>
          <a:off x="515969" y="2974521"/>
          <a:ext cx="762973" cy="76297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94408CD-EF85-4774-BA53-A3DB7D3C1F4C}">
      <dsp:nvSpPr>
        <dsp:cNvPr id="0" name=""/>
        <dsp:cNvSpPr/>
      </dsp:nvSpPr>
      <dsp:spPr>
        <a:xfrm>
          <a:off x="460077" y="3966094"/>
          <a:ext cx="8083810" cy="610378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448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Questions diverses</a:t>
          </a:r>
        </a:p>
      </dsp:txBody>
      <dsp:txXfrm>
        <a:off x="460077" y="3966094"/>
        <a:ext cx="8083810" cy="610378"/>
      </dsp:txXfrm>
    </dsp:sp>
    <dsp:sp modelId="{5AF5E7EE-A04D-40FC-8300-CF20EEE80831}">
      <dsp:nvSpPr>
        <dsp:cNvPr id="0" name=""/>
        <dsp:cNvSpPr/>
      </dsp:nvSpPr>
      <dsp:spPr>
        <a:xfrm>
          <a:off x="78590" y="3889796"/>
          <a:ext cx="762973" cy="76297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HexagonCluster">
  <dgm:title val=""/>
  <dgm:desc val=""/>
  <dgm:catLst>
    <dgm:cat type="picture" pri="21000"/>
    <dgm:cat type="relationship" pri="3200"/>
    <dgm:cat type="pictureconvert" pri="21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clrData>
  <dgm:layoutNode name="Name0">
    <dgm:varLst>
      <dgm:chMax val="21"/>
      <dgm:chPref val="21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alg type="composite">
          <dgm:param type="ar" val="1.3871"/>
        </dgm:alg>
        <dgm:constrLst>
          <dgm:constr type="primFontSz" for="des" ptType="node" op="equ" val="65"/>
          <dgm:constr type="l" for="ch" forName="text1" refType="w" fact="0.4525"/>
          <dgm:constr type="t" for="ch" forName="text1" refType="h" fact="0.346"/>
          <dgm:constr type="w" for="ch" forName="text1" refType="w" fact="0.5475"/>
          <dgm:constr type="h" for="ch" forName="text1" refType="h" fact="0.654"/>
          <dgm:constr type="l" for="ch" forName="textaccent1" refType="w" fact="0.4652"/>
          <dgm:constr type="t" for="ch" forName="textaccent1" refType="h" fact="0.6348"/>
          <dgm:constr type="w" for="ch" forName="textaccent1" refType="w" fact="0.0639"/>
          <dgm:constr type="h" for="ch" forName="textaccent1" refType="h" fact="0.0765"/>
          <dgm:constr type="l" for="ch" forName="image1" refType="w" fact="0"/>
          <dgm:constr type="t" for="ch" forName="image1" refType="h" fact="0"/>
          <dgm:constr type="w" for="ch" forName="image1" refType="w" fact="0.5468"/>
          <dgm:constr type="h" for="ch" forName="image1" refType="h" fact="0.6538"/>
          <dgm:constr type="l" for="ch" forName="imageaccent1" refType="w" fact="0.3702"/>
          <dgm:constr type="t" for="ch" forName="imageaccent1" refType="h" fact="0.5633"/>
          <dgm:constr type="w" for="ch" forName="imageaccent1" refType="w" fact="0.0639"/>
          <dgm:constr type="h" for="ch" forName="imageaccent1" refType="h" fact="0.0765"/>
        </dgm:constrLst>
      </dgm:if>
      <dgm:if name="Name3" axis="ch" ptType="node" func="cnt" op="equ" val="2">
        <dgm:alg type="composite">
          <dgm:param type="ar" val="2.6443"/>
        </dgm:alg>
        <dgm:constrLst>
          <dgm:constr type="primFontSz" for="des" ptType="node" op="equ" val="65"/>
          <dgm:constr type="l" for="ch" forName="text1" refType="w" fact="0.2383"/>
          <dgm:constr type="t" for="ch" forName="text1" refType="h" fact="0.3501"/>
          <dgm:constr type="w" for="ch" forName="text1" refType="w" fact="0.285"/>
          <dgm:constr type="h" for="ch" forName="text1" refType="h" fact="0.6499"/>
          <dgm:constr type="l" for="ch" forName="textaccent1" refType="w" fact="0.2472"/>
          <dgm:constr type="t" for="ch" forName="textaccent1" refType="h" fact="0.6371"/>
          <dgm:constr type="w" for="ch" forName="textaccent1" refType="w" fact="0.0333"/>
          <dgm:constr type="h" for="ch" forName="textaccent1" refType="h" fact="0.076"/>
          <dgm:constr type="l" for="ch" forName="image1" refType="w" fact="0"/>
          <dgm:constr type="t" for="ch" forName="image1" refType="h" fact="0"/>
          <dgm:constr type="w" for="ch" forName="image1" refType="w" fact="0.285"/>
          <dgm:constr type="h" for="ch" forName="image1" refType="h" fact="0.6499"/>
          <dgm:constr type="l" for="ch" forName="imageaccent1" refType="w" fact="0.1942"/>
          <dgm:constr type="t" for="ch" forName="imageaccent1" refType="h" fact="0.5602"/>
          <dgm:constr type="w" for="ch" forName="imageaccent1" refType="w" fact="0.0333"/>
          <dgm:constr type="h" for="ch" forName="imageaccent1" refType="h" fact="0.076"/>
          <dgm:constr type="l" for="ch" forName="text2" refType="w" fact="0.4767"/>
          <dgm:constr type="t" for="ch" forName="text2" refType="h" fact="0"/>
          <dgm:constr type="w" for="ch" forName="text2" refType="w" fact="0.285"/>
          <dgm:constr type="h" for="ch" forName="text2" refType="h" fact="0.6499"/>
          <dgm:constr type="l" for="ch" forName="textaccent2" refType="w" fact="0.6709"/>
          <dgm:constr type="t" for="ch" forName="textaccent2" refType="h" fact="0.5602"/>
          <dgm:constr type="w" for="ch" forName="textaccent2" refType="w" fact="0.0333"/>
          <dgm:constr type="h" for="ch" forName="textaccent2" refType="h" fact="0.076"/>
          <dgm:constr type="l" for="ch" forName="image2" refType="w" fact="0.715"/>
          <dgm:constr type="t" for="ch" forName="image2" refType="h" fact="0.3501"/>
          <dgm:constr type="w" for="ch" forName="image2" refType="w" fact="0.285"/>
          <dgm:constr type="h" for="ch" forName="image2" refType="h" fact="0.6499"/>
          <dgm:constr type="l" for="ch" forName="imageaccent2" refType="w" fact="0.7239"/>
          <dgm:constr type="t" for="ch" forName="imageaccent2" refType="h" fact="0.6371"/>
          <dgm:constr type="w" for="ch" forName="imageaccent2" refType="w" fact="0.0333"/>
          <dgm:constr type="h" for="ch" forName="imageaccent2" refType="h" fact="0.076"/>
        </dgm:constrLst>
      </dgm:if>
      <dgm:if name="Name4" axis="ch" ptType="node" func="cnt" op="equ" val="3">
        <dgm:alg type="composite">
          <dgm:param type="ar" val="1.5623"/>
        </dgm:alg>
        <dgm:constrLst>
          <dgm:constr type="primFontSz" for="des" ptType="node" op="equ" val="65"/>
          <dgm:constr type="l" for="ch" forName="text1" refType="w" fact="0.2402"/>
          <dgm:constr type="t" for="ch" forName="text1" refType="h" fact="0.6215"/>
          <dgm:constr type="w" for="ch" forName="text1" refType="w" fact="0.281"/>
          <dgm:constr type="h" for="ch" forName="text1" refType="h" fact="0.3785"/>
          <dgm:constr type="l" for="ch" forName="textaccent1" refType="w" fact="0.2475"/>
          <dgm:constr type="t" for="ch" forName="textaccent1" refType="h" fact="0.7886"/>
          <dgm:constr type="w" for="ch" forName="textaccent1" refType="w" fact="0.0329"/>
          <dgm:constr type="h" for="ch" forName="textaccent1" refType="h" fact="0.0443"/>
          <dgm:constr type="l" for="ch" forName="image1" refType="w" fact="0"/>
          <dgm:constr type="t" for="ch" forName="image1" refType="h" fact="0.4182"/>
          <dgm:constr type="w" for="ch" forName="image1" refType="w" fact="0.281"/>
          <dgm:constr type="h" for="ch" forName="image1" refType="h" fact="0.3785"/>
          <dgm:constr type="l" for="ch" forName="imageaccent1" refType="w" fact="0.1913"/>
          <dgm:constr type="t" for="ch" forName="imageaccent1" refType="h" fact="0.7467"/>
          <dgm:constr type="w" for="ch" forName="imageaccent1" refType="w" fact="0.0329"/>
          <dgm:constr type="h" for="ch" forName="imageaccent1" refType="h" fact="0.0443"/>
          <dgm:constr type="l" for="ch" forName="text2" refType="w" fact="0.4796"/>
          <dgm:constr type="t" for="ch" forName="text2" refType="h" fact="0.4137"/>
          <dgm:constr type="w" for="ch" forName="text2" refType="w" fact="0.281"/>
          <dgm:constr type="h" for="ch" forName="text2" refType="h" fact="0.3785"/>
          <dgm:constr type="l" for="ch" forName="textaccent2" refType="w" fact="0.6717"/>
          <dgm:constr type="t" for="ch" forName="textaccent2" refType="h" fact="0.7418"/>
          <dgm:constr type="w" for="ch" forName="textaccent2" refType="w" fact="0.0329"/>
          <dgm:constr type="h" for="ch" forName="textaccent2" refType="h" fact="0.0443"/>
          <dgm:constr type="l" for="ch" forName="image2" refType="w" fact="0.719"/>
          <dgm:constr type="t" for="ch" forName="image2" refType="h" fact="0.6215"/>
          <dgm:constr type="w" for="ch" forName="image2" refType="w" fact="0.281"/>
          <dgm:constr type="h" for="ch" forName="image2" refType="h" fact="0.3785"/>
          <dgm:constr type="l" for="ch" forName="imageaccent2" refType="w" fact="0.7263"/>
          <dgm:constr type="t" for="ch" forName="imageaccent2" refType="h" fact="0.7886"/>
          <dgm:constr type="w" for="ch" forName="imageaccent2" refType="w" fact="0.0329"/>
          <dgm:constr type="h" for="ch" forName="imageaccent2" refType="h" fact="0.0443"/>
          <dgm:constr type="l" for="ch" forName="text3" refType="w" fact="0.2402"/>
          <dgm:constr type="t" for="ch" forName="text3" refType="h" fact="0.2068"/>
          <dgm:constr type="w" for="ch" forName="text3" refType="w" fact="0.281"/>
          <dgm:constr type="h" for="ch" forName="text3" refType="h" fact="0.3785"/>
          <dgm:constr type="l" for="ch" forName="textaccent3" refType="w" fact="0.4307"/>
          <dgm:constr type="t" for="ch" forName="textaccent3" refType="h" fact="0.215"/>
          <dgm:constr type="w" for="ch" forName="textaccent3" refType="w" fact="0.0329"/>
          <dgm:constr type="h" for="ch" forName="textaccent3" refType="h" fact="0.0443"/>
          <dgm:constr type="l" for="ch" forName="image3" refType="w" fact="0.4796"/>
          <dgm:constr type="t" for="ch" forName="image3" refType="h" fact="0"/>
          <dgm:constr type="w" for="ch" forName="image3" refType="w" fact="0.281"/>
          <dgm:constr type="h" for="ch" forName="image3" refType="h" fact="0.3785"/>
          <dgm:constr type="l" for="ch" forName="imageaccent3" refType="w" fact="0.4879"/>
          <dgm:constr type="t" for="ch" forName="imageaccent3" refType="h" fact="0.1662"/>
          <dgm:constr type="w" for="ch" forName="imageaccent3" refType="w" fact="0.0329"/>
          <dgm:constr type="h" for="ch" forName="imageaccent3" refType="h" fact="0.0443"/>
        </dgm:constrLst>
      </dgm:if>
      <dgm:if name="Name5" axis="ch" ptType="node" func="cnt" op="equ" val="4">
        <dgm:alg type="composite">
          <dgm:param type="ar" val="1.943"/>
        </dgm:alg>
        <dgm:constrLst>
          <dgm:constr type="primFontSz" for="des" ptType="node" op="equ" val="65"/>
          <dgm:constr type="l" for="ch" forName="image2" refType="w" fact="0.5787"/>
          <dgm:constr type="t" for="ch" forName="image2" refType="h" fact="0.6208"/>
          <dgm:constr type="w" for="ch" forName="image2" refType="w" fact="0.227"/>
          <dgm:constr type="h" for="ch" forName="image2" refType="h" fact="0.3786"/>
          <dgm:constr type="l" for="ch" forName="text4" refType="w" fact="0.5787"/>
          <dgm:constr type="t" for="ch" forName="text4" refType="h" fact="0.2081"/>
          <dgm:constr type="w" for="ch" forName="text4" refType="w" fact="0.227"/>
          <dgm:constr type="h" for="ch" forName="text4" refType="h" fact="0.3786"/>
          <dgm:constr type="l" for="ch" forName="text2" refType="w" fact="0.3852"/>
          <dgm:constr type="t" for="ch" forName="text2" refType="h" fact="0.4127"/>
          <dgm:constr type="w" for="ch" forName="text2" refType="w" fact="0.227"/>
          <dgm:constr type="h" for="ch" forName="text2" refType="h" fact="0.3786"/>
          <dgm:constr type="l" for="ch" forName="image3" refType="w" fact="0.3852"/>
          <dgm:constr type="t" for="ch" forName="image3" refType="h" fact="0"/>
          <dgm:constr type="w" for="ch" forName="image3" refType="w" fact="0.227"/>
          <dgm:constr type="h" for="ch" forName="image3" refType="h" fact="0.3786"/>
          <dgm:constr type="l" for="ch" forName="text1" refType="w" fact="0.1927"/>
          <dgm:constr type="t" for="ch" forName="text1" refType="h" fact="0.6214"/>
          <dgm:constr type="w" for="ch" forName="text1" refType="w" fact="0.227"/>
          <dgm:constr type="h" for="ch" forName="text1" refType="h" fact="0.3786"/>
          <dgm:constr type="l" for="ch" forName="textaccent1" refType="w" fact="0.1998"/>
          <dgm:constr type="t" for="ch" forName="textaccent1" refType="h" fact="0.7887"/>
          <dgm:constr type="w" for="ch" forName="textaccent1" refType="w" fact="0.0265"/>
          <dgm:constr type="h" for="ch" forName="textaccent1" refType="h" fact="0.0444"/>
          <dgm:constr type="l" for="ch" forName="image1" refType="w" fact="0"/>
          <dgm:constr type="t" for="ch" forName="image1" refType="h" fact="0.4156"/>
          <dgm:constr type="w" for="ch" forName="image1" refType="w" fact="0.227"/>
          <dgm:constr type="h" for="ch" forName="image1" refType="h" fact="0.3786"/>
          <dgm:constr type="l" for="ch" forName="imageaccent1" refType="w" fact="0.1537"/>
          <dgm:constr type="t" for="ch" forName="imageaccent1" refType="h" fact="0.7417"/>
          <dgm:constr type="w" for="ch" forName="imageaccent1" refType="w" fact="0.0265"/>
          <dgm:constr type="h" for="ch" forName="imageaccent1" refType="h" fact="0.0444"/>
          <dgm:constr type="l" for="ch" forName="textaccent2" refType="w" fact="0.5407"/>
          <dgm:constr type="t" for="ch" forName="textaccent2" refType="h" fact="0.7384"/>
          <dgm:constr type="w" for="ch" forName="textaccent2" refType="w" fact="0.0265"/>
          <dgm:constr type="h" for="ch" forName="textaccent2" refType="h" fact="0.0444"/>
          <dgm:constr type="l" for="ch" forName="imageaccent2" refType="w" fact="0.5839"/>
          <dgm:constr type="t" for="ch" forName="imageaccent2" refType="h" fact="0.7904"/>
          <dgm:constr type="w" for="ch" forName="imageaccent2" refType="w" fact="0.0265"/>
          <dgm:constr type="h" for="ch" forName="imageaccent2" refType="h" fact="0.0444"/>
          <dgm:constr type="l" for="ch" forName="text3" refType="w" fact="0.1927"/>
          <dgm:constr type="t" for="ch" forName="text3" refType="h" fact="0.2087"/>
          <dgm:constr type="w" for="ch" forName="text3" refType="w" fact="0.227"/>
          <dgm:constr type="h" for="ch" forName="text3" refType="h" fact="0.3786"/>
          <dgm:constr type="l" for="ch" forName="textaccent3" refType="w" fact="0.3472"/>
          <dgm:constr type="t" for="ch" forName="textaccent3" refType="h" fact="0.2165"/>
          <dgm:constr type="w" for="ch" forName="textaccent3" refType="w" fact="0.0265"/>
          <dgm:constr type="h" for="ch" forName="textaccent3" refType="h" fact="0.0444"/>
          <dgm:constr type="l" for="ch" forName="imageaccent3" refType="w" fact="0.3904"/>
          <dgm:constr type="t" for="ch" forName="imageaccent3" refType="h" fact="0.1678"/>
          <dgm:constr type="w" for="ch" forName="imageaccent3" refType="w" fact="0.0265"/>
          <dgm:constr type="h" for="ch" forName="imageaccent3" refType="h" fact="0.0444"/>
          <dgm:constr type="l" for="ch" forName="textaccent4" refType="w" fact="0.7739"/>
          <dgm:constr type="t" for="ch" forName="textaccent4" refType="h" fact="0.3752"/>
          <dgm:constr type="w" for="ch" forName="textaccent4" refType="w" fact="0.0265"/>
          <dgm:constr type="h" for="ch" forName="textaccent4" refType="h" fact="0.0444"/>
          <dgm:constr type="l" for="ch" forName="image4" refType="w" fact="0.773"/>
          <dgm:constr type="t" for="ch" forName="image4" refType="h" fact="0.4162"/>
          <dgm:constr type="w" for="ch" forName="image4" refType="w" fact="0.227"/>
          <dgm:constr type="h" for="ch" forName="image4" refType="h" fact="0.3786"/>
          <dgm:constr type="l" for="ch" forName="imageaccent4" refType="w" fact="0.8188"/>
          <dgm:constr type="t" for="ch" forName="imageaccent4" refType="h" fact="0.4229"/>
          <dgm:constr type="w" for="ch" forName="imageaccent4" refType="w" fact="0.0265"/>
          <dgm:constr type="h" for="ch" forName="imageaccent4" refType="h" fact="0.0444"/>
        </dgm:constrLst>
      </dgm:if>
      <dgm:if name="Name6" axis="ch" ptType="node" func="cnt" op="equ" val="5">
        <dgm:alg type="composite">
          <dgm:param type="ar" val="2.3203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4193"/>
          <dgm:constr type="w" for="ch" forName="image4" refType="w" fact="0.1886"/>
          <dgm:constr type="h" for="ch" forName="image4" refType="h" fact="0.3757"/>
          <dgm:constr type="l" for="ch" forName="text5" refType="w" fact="0.6491"/>
          <dgm:constr type="t" for="ch" forName="text5" refType="h" fact="0.004"/>
          <dgm:constr type="w" for="ch" forName="text5" refType="w" fact="0.1886"/>
          <dgm:constr type="h" for="ch" forName="text5" refType="h" fact="0.3757"/>
          <dgm:constr type="l" for="ch" forName="image5" refType="w" fact="0.8114"/>
          <dgm:constr type="t" for="ch" forName="image5" refType="h" fact="0.2136"/>
          <dgm:constr type="w" for="ch" forName="image5" refType="w" fact="0.1886"/>
          <dgm:constr type="h" for="ch" forName="image5" refType="h" fact="0.3757"/>
          <dgm:constr type="l" for="ch" forName="image2" refType="w" fact="0.4868"/>
          <dgm:constr type="t" for="ch" forName="image2" refType="h" fact="0.6235"/>
          <dgm:constr type="w" for="ch" forName="image2" refType="w" fact="0.1886"/>
          <dgm:constr type="h" for="ch" forName="image2" refType="h" fact="0.3757"/>
          <dgm:constr type="l" for="ch" forName="text4" refType="w" fact="0.4868"/>
          <dgm:constr type="t" for="ch" forName="text4" refType="h" fact="0.2081"/>
          <dgm:constr type="w" for="ch" forName="text4" refType="w" fact="0.1886"/>
          <dgm:constr type="h" for="ch" forName="text4" refType="h" fact="0.3757"/>
          <dgm:constr type="l" for="ch" forName="text2" refType="w" fact="0.3246"/>
          <dgm:constr type="t" for="ch" forName="text2" refType="h" fact="0.4154"/>
          <dgm:constr type="w" for="ch" forName="text2" refType="w" fact="0.1886"/>
          <dgm:constr type="h" for="ch" forName="text2" refType="h" fact="0.3757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3757"/>
          <dgm:constr type="l" for="ch" forName="text1" refType="w" fact="0.1623"/>
          <dgm:constr type="t" for="ch" forName="text1" refType="h" fact="0.6243"/>
          <dgm:constr type="w" for="ch" forName="text1" refType="w" fact="0.1886"/>
          <dgm:constr type="h" for="ch" forName="text1" refType="h" fact="0.3757"/>
          <dgm:constr type="l" for="ch" forName="text3" refType="w" fact="0.1623"/>
          <dgm:constr type="t" for="ch" forName="text3" refType="h" fact="0.2089"/>
          <dgm:constr type="w" for="ch" forName="text3" refType="w" fact="0.1886"/>
          <dgm:constr type="h" for="ch" forName="text3" refType="h" fact="0.3757"/>
          <dgm:constr type="l" for="ch" forName="textaccent1" refType="w" fact="0.1668"/>
          <dgm:constr type="t" for="ch" forName="textaccent1" refType="h" fact="0.7923"/>
          <dgm:constr type="w" for="ch" forName="textaccent1" refType="w" fact="0.022"/>
          <dgm:constr type="h" for="ch" forName="textaccent1" refType="h" fact="0.044"/>
          <dgm:constr type="l" for="ch" forName="image1" refType="w" fact="0"/>
          <dgm:constr type="t" for="ch" forName="image1" refType="h" fact="0.4166"/>
          <dgm:constr type="w" for="ch" forName="image1" refType="w" fact="0.1886"/>
          <dgm:constr type="h" for="ch" forName="image1" refType="h" fact="0.3757"/>
          <dgm:constr type="l" for="ch" forName="imageaccent1" refType="w" fact="0.1292"/>
          <dgm:constr type="t" for="ch" forName="imageaccent1" refType="h" fact="0.7424"/>
          <dgm:constr type="w" for="ch" forName="imageaccent1" refType="w" fact="0.022"/>
          <dgm:constr type="h" for="ch" forName="imageaccent1" refType="h" fact="0.044"/>
          <dgm:constr type="l" for="ch" forName="textaccent2" refType="w" fact="0.4544"/>
          <dgm:constr type="t" for="ch" forName="textaccent2" refType="h" fact="0.7404"/>
          <dgm:constr type="w" for="ch" forName="textaccent2" refType="w" fact="0.022"/>
          <dgm:constr type="h" for="ch" forName="textaccent2" refType="h" fact="0.044"/>
          <dgm:constr type="l" for="ch" forName="imageaccent2" refType="w" fact="0.4914"/>
          <dgm:constr type="t" for="ch" forName="imageaccent2" refType="h" fact="0.7907"/>
          <dgm:constr type="w" for="ch" forName="imageaccent2" refType="w" fact="0.022"/>
          <dgm:constr type="h" for="ch" forName="imageaccent2" refType="h" fact="0.044"/>
          <dgm:constr type="l" for="ch" forName="textaccent3" refType="w" fact="0.2915"/>
          <dgm:constr type="t" for="ch" forName="textaccent3" refType="h" fact="0.216"/>
          <dgm:constr type="w" for="ch" forName="textaccent3" refType="w" fact="0.022"/>
          <dgm:constr type="h" for="ch" forName="textaccent3" refType="h" fact="0.044"/>
          <dgm:constr type="l" for="ch" forName="imageaccent3" refType="w" fact="0.3299"/>
          <dgm:constr type="t" for="ch" forName="imageaccent3" refType="h" fact="0.1665"/>
          <dgm:constr type="w" for="ch" forName="imageaccent3" refType="w" fact="0.022"/>
          <dgm:constr type="h" for="ch" forName="imageaccent3" refType="h" fact="0.044"/>
          <dgm:constr type="l" for="ch" forName="textaccent4" refType="w" fact="0.65"/>
          <dgm:constr type="t" for="ch" forName="textaccent4" refType="h" fact="0.3746"/>
          <dgm:constr type="w" for="ch" forName="textaccent4" refType="w" fact="0.022"/>
          <dgm:constr type="h" for="ch" forName="textaccent4" refType="h" fact="0.044"/>
          <dgm:constr type="l" for="ch" forName="imageaccent4" refType="w" fact="0.6859"/>
          <dgm:constr type="t" for="ch" forName="imageaccent4" refType="h" fact="0.4261"/>
          <dgm:constr type="w" for="ch" forName="imageaccent4" refType="w" fact="0.022"/>
          <dgm:constr type="h" for="ch" forName="imageaccent4" refType="h" fact="0.044"/>
          <dgm:constr type="l" for="ch" forName="textaccent5" refType="w" fact="0.8123"/>
          <dgm:constr type="t" for="ch" forName="textaccent5" refType="h" fact="0.1724"/>
          <dgm:constr type="w" for="ch" forName="textaccent5" refType="w" fact="0.022"/>
          <dgm:constr type="h" for="ch" forName="textaccent5" refType="h" fact="0.044"/>
          <dgm:constr type="l" for="ch" forName="imageaccent5" refType="w" fact="0.849"/>
          <dgm:constr type="t" for="ch" forName="imageaccent5" refType="h" fact="0.222"/>
          <dgm:constr type="w" for="ch" forName="imageaccent5" refType="w" fact="0.022"/>
          <dgm:constr type="h" for="ch" forName="imageaccent5" refType="h" fact="0.044"/>
        </dgm:constrLst>
      </dgm:if>
      <dgm:if name="Name7" axis="ch" ptType="node" func="cnt" op="equ" val="6">
        <dgm:alg type="composite">
          <dgm:param type="ar" val="1.9179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3466"/>
          <dgm:constr type="w" for="ch" forName="image4" refType="w" fact="0.1886"/>
          <dgm:constr type="h" for="ch" forName="image4" refType="h" fact="0.3106"/>
          <dgm:constr type="l" for="ch" forName="text5" refType="w" fact="0.6491"/>
          <dgm:constr type="t" for="ch" forName="text5" refType="h" fact="0.0033"/>
          <dgm:constr type="w" for="ch" forName="text5" refType="w" fact="0.1886"/>
          <dgm:constr type="h" for="ch" forName="text5" refType="h" fact="0.3106"/>
          <dgm:constr type="l" for="ch" forName="image5" refType="w" fact="0.8114"/>
          <dgm:constr type="t" for="ch" forName="image5" refType="h" fact="0.1766"/>
          <dgm:constr type="w" for="ch" forName="image5" refType="w" fact="0.1886"/>
          <dgm:constr type="h" for="ch" forName="image5" refType="h" fact="0.3106"/>
          <dgm:constr type="l" for="ch" forName="image2" refType="w" fact="0.4868"/>
          <dgm:constr type="t" for="ch" forName="image2" refType="h" fact="0.5154"/>
          <dgm:constr type="w" for="ch" forName="image2" refType="w" fact="0.1886"/>
          <dgm:constr type="h" for="ch" forName="image2" refType="h" fact="0.3106"/>
          <dgm:constr type="l" for="ch" forName="text4" refType="w" fact="0.4868"/>
          <dgm:constr type="t" for="ch" forName="text4" refType="h" fact="0.172"/>
          <dgm:constr type="w" for="ch" forName="text4" refType="w" fact="0.1886"/>
          <dgm:constr type="h" for="ch" forName="text4" refType="h" fact="0.3106"/>
          <dgm:constr type="l" for="ch" forName="text2" refType="w" fact="0.3246"/>
          <dgm:constr type="t" for="ch" forName="text2" refType="h" fact="0.3434"/>
          <dgm:constr type="w" for="ch" forName="text2" refType="w" fact="0.1886"/>
          <dgm:constr type="h" for="ch" forName="text2" refType="h" fact="0.3106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3106"/>
          <dgm:constr type="l" for="ch" forName="text1" refType="w" fact="0.1623"/>
          <dgm:constr type="t" for="ch" forName="text1" refType="h" fact="0.516"/>
          <dgm:constr type="w" for="ch" forName="text1" refType="w" fact="0.1886"/>
          <dgm:constr type="h" for="ch" forName="text1" refType="h" fact="0.3106"/>
          <dgm:constr type="l" for="ch" forName="text3" refType="w" fact="0.1623"/>
          <dgm:constr type="t" for="ch" forName="text3" refType="h" fact="0.1727"/>
          <dgm:constr type="w" for="ch" forName="text3" refType="w" fact="0.1886"/>
          <dgm:constr type="h" for="ch" forName="text3" refType="h" fact="0.3106"/>
          <dgm:constr type="l" for="ch" forName="textaccent1" refType="w" fact="0.1668"/>
          <dgm:constr type="t" for="ch" forName="textaccent1" refType="h" fact="0.6549"/>
          <dgm:constr type="w" for="ch" forName="textaccent1" refType="w" fact="0.022"/>
          <dgm:constr type="h" for="ch" forName="textaccent1" refType="h" fact="0.0364"/>
          <dgm:constr type="l" for="ch" forName="image1" refType="w" fact="0"/>
          <dgm:constr type="t" for="ch" forName="image1" refType="h" fact="0.3443"/>
          <dgm:constr type="w" for="ch" forName="image1" refType="w" fact="0.1886"/>
          <dgm:constr type="h" for="ch" forName="image1" refType="h" fact="0.3106"/>
          <dgm:constr type="l" for="ch" forName="imageaccent1" refType="w" fact="0.1292"/>
          <dgm:constr type="t" for="ch" forName="imageaccent1" refType="h" fact="0.6137"/>
          <dgm:constr type="w" for="ch" forName="imageaccent1" refType="w" fact="0.022"/>
          <dgm:constr type="h" for="ch" forName="imageaccent1" refType="h" fact="0.0364"/>
          <dgm:constr type="l" for="ch" forName="textaccent2" refType="w" fact="0.4544"/>
          <dgm:constr type="t" for="ch" forName="textaccent2" refType="h" fact="0.612"/>
          <dgm:constr type="w" for="ch" forName="textaccent2" refType="w" fact="0.022"/>
          <dgm:constr type="h" for="ch" forName="textaccent2" refType="h" fact="0.0364"/>
          <dgm:constr type="l" for="ch" forName="imageaccent2" refType="w" fact="0.4914"/>
          <dgm:constr type="t" for="ch" forName="imageaccent2" refType="h" fact="0.6536"/>
          <dgm:constr type="w" for="ch" forName="imageaccent2" refType="w" fact="0.022"/>
          <dgm:constr type="h" for="ch" forName="imageaccent2" refType="h" fact="0.0364"/>
          <dgm:constr type="l" for="ch" forName="textaccent3" refType="w" fact="0.2915"/>
          <dgm:constr type="t" for="ch" forName="textaccent3" refType="h" fact="0.1786"/>
          <dgm:constr type="w" for="ch" forName="textaccent3" refType="w" fact="0.022"/>
          <dgm:constr type="h" for="ch" forName="textaccent3" refType="h" fact="0.0364"/>
          <dgm:constr type="l" for="ch" forName="imageaccent3" refType="w" fact="0.3299"/>
          <dgm:constr type="t" for="ch" forName="imageaccent3" refType="h" fact="0.1376"/>
          <dgm:constr type="w" for="ch" forName="imageaccent3" refType="w" fact="0.022"/>
          <dgm:constr type="h" for="ch" forName="imageaccent3" refType="h" fact="0.0364"/>
          <dgm:constr type="l" for="ch" forName="textaccent4" refType="w" fact="0.65"/>
          <dgm:constr type="t" for="ch" forName="textaccent4" refType="h" fact="0.3096"/>
          <dgm:constr type="w" for="ch" forName="textaccent4" refType="w" fact="0.022"/>
          <dgm:constr type="h" for="ch" forName="textaccent4" refType="h" fact="0.0364"/>
          <dgm:constr type="l" for="ch" forName="imageaccent4" refType="w" fact="0.6859"/>
          <dgm:constr type="t" for="ch" forName="imageaccent4" refType="h" fact="0.3522"/>
          <dgm:constr type="w" for="ch" forName="imageaccent4" refType="w" fact="0.022"/>
          <dgm:constr type="h" for="ch" forName="imageaccent4" refType="h" fact="0.0364"/>
          <dgm:constr type="l" for="ch" forName="textaccent5" refType="w" fact="0.8123"/>
          <dgm:constr type="t" for="ch" forName="textaccent5" refType="h" fact="0.1425"/>
          <dgm:constr type="w" for="ch" forName="textaccent5" refType="w" fact="0.022"/>
          <dgm:constr type="h" for="ch" forName="textaccent5" refType="h" fact="0.0364"/>
          <dgm:constr type="l" for="ch" forName="imageaccent5" refType="w" fact="0.849"/>
          <dgm:constr type="t" for="ch" forName="imageaccent5" refType="h" fact="0.1835"/>
          <dgm:constr type="w" for="ch" forName="imageaccent5" refType="w" fact="0.022"/>
          <dgm:constr type="h" for="ch" forName="imageaccent5" refType="h" fact="0.0364"/>
          <dgm:constr type="l" for="ch" forName="image6" refType="w" fact="0.6491"/>
          <dgm:constr type="t" for="ch" forName="image6" refType="h" fact="0.6894"/>
          <dgm:constr type="w" for="ch" forName="image6" refType="w" fact="0.1886"/>
          <dgm:constr type="h" for="ch" forName="image6" refType="h" fact="0.3106"/>
          <dgm:constr type="l" for="ch" forName="text6" refType="w" fact="0.8114"/>
          <dgm:constr type="t" for="ch" forName="text6" refType="h" fact="0.5194"/>
          <dgm:constr type="w" for="ch" forName="text6" refType="w" fact="0.1886"/>
          <dgm:constr type="h" for="ch" forName="text6" refType="h" fact="0.3106"/>
          <dgm:constr type="l" for="ch" forName="imageaccent6" refType="w" fact="0.8138"/>
          <dgm:constr type="t" for="ch" forName="imageaccent6" refType="h" fact="0.8257"/>
          <dgm:constr type="w" for="ch" forName="imageaccent6" refType="w" fact="0.022"/>
          <dgm:constr type="h" for="ch" forName="imageaccent6" refType="h" fact="0.0364"/>
          <dgm:constr type="l" for="ch" forName="textaccent6" refType="w" fact="0.8488"/>
          <dgm:constr type="t" for="ch" forName="textaccent6" refType="h" fact="0.7914"/>
          <dgm:constr type="w" for="ch" forName="textaccent6" refType="w" fact="0.022"/>
          <dgm:constr type="h" for="ch" forName="textaccent6" refType="h" fact="0.0364"/>
        </dgm:constrLst>
      </dgm:if>
      <dgm:if name="Name8" axis="ch" ptType="node" func="cnt" op="equ" val="7">
        <dgm:alg type="composite">
          <dgm:param type="ar" val="1.6382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2961"/>
          <dgm:constr type="w" for="ch" forName="image4" refType="w" fact="0.1886"/>
          <dgm:constr type="h" for="ch" forName="image4" refType="h" fact="0.2653"/>
          <dgm:constr type="l" for="ch" forName="text5" refType="w" fact="0.6491"/>
          <dgm:constr type="t" for="ch" forName="text5" refType="h" fact="0.0028"/>
          <dgm:constr type="w" for="ch" forName="text5" refType="w" fact="0.1886"/>
          <dgm:constr type="h" for="ch" forName="text5" refType="h" fact="0.2653"/>
          <dgm:constr type="l" for="ch" forName="image5" refType="w" fact="0.8114"/>
          <dgm:constr type="t" for="ch" forName="image5" refType="h" fact="0.1508"/>
          <dgm:constr type="w" for="ch" forName="image5" refType="w" fact="0.1886"/>
          <dgm:constr type="h" for="ch" forName="image5" refType="h" fact="0.2653"/>
          <dgm:constr type="l" for="ch" forName="image2" refType="w" fact="0.4868"/>
          <dgm:constr type="t" for="ch" forName="image2" refType="h" fact="0.4402"/>
          <dgm:constr type="w" for="ch" forName="image2" refType="w" fact="0.1886"/>
          <dgm:constr type="h" for="ch" forName="image2" refType="h" fact="0.2653"/>
          <dgm:constr type="l" for="ch" forName="text4" refType="w" fact="0.4868"/>
          <dgm:constr type="t" for="ch" forName="text4" refType="h" fact="0.1469"/>
          <dgm:constr type="w" for="ch" forName="text4" refType="w" fact="0.1886"/>
          <dgm:constr type="h" for="ch" forName="text4" refType="h" fact="0.2653"/>
          <dgm:constr type="l" for="ch" forName="text2" refType="w" fact="0.3246"/>
          <dgm:constr type="t" for="ch" forName="text2" refType="h" fact="0.2933"/>
          <dgm:constr type="w" for="ch" forName="text2" refType="w" fact="0.1886"/>
          <dgm:constr type="h" for="ch" forName="text2" refType="h" fact="0.2653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2653"/>
          <dgm:constr type="l" for="ch" forName="text1" refType="w" fact="0.1623"/>
          <dgm:constr type="t" for="ch" forName="text1" refType="h" fact="0.4408"/>
          <dgm:constr type="w" for="ch" forName="text1" refType="w" fact="0.1886"/>
          <dgm:constr type="h" for="ch" forName="text1" refType="h" fact="0.2653"/>
          <dgm:constr type="l" for="ch" forName="text3" refType="w" fact="0.1623"/>
          <dgm:constr type="t" for="ch" forName="text3" refType="h" fact="0.1475"/>
          <dgm:constr type="w" for="ch" forName="text3" refType="w" fact="0.1886"/>
          <dgm:constr type="h" for="ch" forName="text3" refType="h" fact="0.2653"/>
          <dgm:constr type="l" for="ch" forName="textaccent1" refType="w" fact="0.1668"/>
          <dgm:constr type="t" for="ch" forName="textaccent1" refType="h" fact="0.5594"/>
          <dgm:constr type="w" for="ch" forName="textaccent1" refType="w" fact="0.022"/>
          <dgm:constr type="h" for="ch" forName="textaccent1" refType="h" fact="0.0311"/>
          <dgm:constr type="l" for="ch" forName="image1" refType="w" fact="0"/>
          <dgm:constr type="t" for="ch" forName="image1" refType="h" fact="0.2941"/>
          <dgm:constr type="w" for="ch" forName="image1" refType="w" fact="0.1886"/>
          <dgm:constr type="h" for="ch" forName="image1" refType="h" fact="0.2653"/>
          <dgm:constr type="l" for="ch" forName="imageaccent1" refType="w" fact="0.1292"/>
          <dgm:constr type="t" for="ch" forName="imageaccent1" refType="h" fact="0.5242"/>
          <dgm:constr type="w" for="ch" forName="imageaccent1" refType="w" fact="0.022"/>
          <dgm:constr type="h" for="ch" forName="imageaccent1" refType="h" fact="0.0311"/>
          <dgm:constr type="l" for="ch" forName="textaccent2" refType="w" fact="0.4544"/>
          <dgm:constr type="t" for="ch" forName="textaccent2" refType="h" fact="0.5228"/>
          <dgm:constr type="w" for="ch" forName="textaccent2" refType="w" fact="0.022"/>
          <dgm:constr type="h" for="ch" forName="textaccent2" refType="h" fact="0.0311"/>
          <dgm:constr type="l" for="ch" forName="imageaccent2" refType="w" fact="0.4914"/>
          <dgm:constr type="t" for="ch" forName="imageaccent2" refType="h" fact="0.5583"/>
          <dgm:constr type="w" for="ch" forName="imageaccent2" refType="w" fact="0.022"/>
          <dgm:constr type="h" for="ch" forName="imageaccent2" refType="h" fact="0.0311"/>
          <dgm:constr type="l" for="ch" forName="textaccent3" refType="w" fact="0.2907"/>
          <dgm:constr type="t" for="ch" forName="textaccent3" refType="h" fact="0.1511"/>
          <dgm:constr type="w" for="ch" forName="textaccent3" refType="w" fact="0.022"/>
          <dgm:constr type="h" for="ch" forName="textaccent3" refType="h" fact="0.0311"/>
          <dgm:constr type="l" for="ch" forName="imageaccent3" refType="w" fact="0.3299"/>
          <dgm:constr type="t" for="ch" forName="imageaccent3" refType="h" fact="0.1175"/>
          <dgm:constr type="w" for="ch" forName="imageaccent3" refType="w" fact="0.022"/>
          <dgm:constr type="h" for="ch" forName="imageaccent3" refType="h" fact="0.0311"/>
          <dgm:constr type="l" for="ch" forName="textaccent4" refType="w" fact="0.65"/>
          <dgm:constr type="t" for="ch" forName="textaccent4" refType="h" fact="0.2645"/>
          <dgm:constr type="w" for="ch" forName="textaccent4" refType="w" fact="0.022"/>
          <dgm:constr type="h" for="ch" forName="textaccent4" refType="h" fact="0.0311"/>
          <dgm:constr type="l" for="ch" forName="imageaccent4" refType="w" fact="0.6859"/>
          <dgm:constr type="t" for="ch" forName="imageaccent4" refType="h" fact="0.3008"/>
          <dgm:constr type="w" for="ch" forName="imageaccent4" refType="w" fact="0.022"/>
          <dgm:constr type="h" for="ch" forName="imageaccent4" refType="h" fact="0.0311"/>
          <dgm:constr type="l" for="ch" forName="textaccent5" refType="w" fact="0.8123"/>
          <dgm:constr type="t" for="ch" forName="textaccent5" refType="h" fact="0.1217"/>
          <dgm:constr type="w" for="ch" forName="textaccent5" refType="w" fact="0.022"/>
          <dgm:constr type="h" for="ch" forName="textaccent5" refType="h" fact="0.0311"/>
          <dgm:constr type="l" for="ch" forName="imageaccent5" refType="w" fact="0.849"/>
          <dgm:constr type="t" for="ch" forName="imageaccent5" refType="h" fact="0.1567"/>
          <dgm:constr type="w" for="ch" forName="imageaccent5" refType="w" fact="0.022"/>
          <dgm:constr type="h" for="ch" forName="imageaccent5" refType="h" fact="0.0311"/>
          <dgm:constr type="l" for="ch" forName="image6" refType="w" fact="0.6491"/>
          <dgm:constr type="t" for="ch" forName="image6" refType="h" fact="0.5889"/>
          <dgm:constr type="w" for="ch" forName="image6" refType="w" fact="0.1886"/>
          <dgm:constr type="h" for="ch" forName="image6" refType="h" fact="0.2653"/>
          <dgm:constr type="l" for="ch" forName="text6" refType="w" fact="0.8114"/>
          <dgm:constr type="t" for="ch" forName="text6" refType="h" fact="0.4436"/>
          <dgm:constr type="w" for="ch" forName="text6" refType="w" fact="0.1886"/>
          <dgm:constr type="h" for="ch" forName="text6" refType="h" fact="0.2653"/>
          <dgm:constr type="l" for="ch" forName="imageaccent6" refType="w" fact="0.8138"/>
          <dgm:constr type="t" for="ch" forName="imageaccent6" refType="h" fact="0.7053"/>
          <dgm:constr type="w" for="ch" forName="imageaccent6" refType="w" fact="0.022"/>
          <dgm:constr type="h" for="ch" forName="imageaccent6" refType="h" fact="0.0311"/>
          <dgm:constr type="l" for="ch" forName="textaccent6" refType="w" fact="0.8488"/>
          <dgm:constr type="t" for="ch" forName="textaccent6" refType="h" fact="0.676"/>
          <dgm:constr type="w" for="ch" forName="textaccent6" refType="w" fact="0.022"/>
          <dgm:constr type="h" for="ch" forName="textaccent6" refType="h" fact="0.0311"/>
          <dgm:constr type="l" for="ch" forName="text7" refType="w" fact="0.3244"/>
          <dgm:constr type="t" for="ch" forName="text7" refType="h" fact="0.5872"/>
          <dgm:constr type="w" for="ch" forName="text7" refType="w" fact="0.1886"/>
          <dgm:constr type="h" for="ch" forName="text7" refType="h" fact="0.2653"/>
          <dgm:constr type="l" for="ch" forName="image7" refType="w" fact="0.1622"/>
          <dgm:constr type="t" for="ch" forName="image7" refType="h" fact="0.7347"/>
          <dgm:constr type="w" for="ch" forName="image7" refType="w" fact="0.1886"/>
          <dgm:constr type="h" for="ch" forName="image7" refType="h" fact="0.2653"/>
          <dgm:constr type="l" for="ch" forName="imageaccent7" refType="w" fact="0.2905"/>
          <dgm:constr type="t" for="ch" forName="imageaccent7" refType="h" fact="0.7384"/>
          <dgm:constr type="w" for="ch" forName="imageaccent7" refType="w" fact="0.022"/>
          <dgm:constr type="h" for="ch" forName="imageaccent7" refType="h" fact="0.0311"/>
          <dgm:constr type="l" for="ch" forName="textaccent7" refType="w" fact="0.3298"/>
          <dgm:constr type="t" for="ch" forName="textaccent7" refType="h" fact="0.7048"/>
          <dgm:constr type="w" for="ch" forName="textaccent7" refType="w" fact="0.022"/>
          <dgm:constr type="h" for="ch" forName="textaccent7" refType="h" fact="0.0311"/>
        </dgm:constrLst>
      </dgm:if>
      <dgm:if name="Name9" axis="ch" ptType="node" func="cnt" op="equ" val="8">
        <dgm:alg type="composite">
          <dgm:param type="ar" val="1.8974"/>
        </dgm:alg>
        <dgm:constrLst>
          <dgm:constr type="primFontSz" for="des" ptType="node" op="equ" val="65"/>
          <dgm:constr type="l" for="ch" forName="image4" refType="w" fact="0.5589"/>
          <dgm:constr type="t" for="ch" forName="image4" refType="h" fact="0.2952"/>
          <dgm:constr type="w" for="ch" forName="image4" refType="w" fact="0.1624"/>
          <dgm:constr type="h" for="ch" forName="image4" refType="h" fact="0.2645"/>
          <dgm:constr type="l" for="ch" forName="text5" refType="w" fact="0.5589"/>
          <dgm:constr type="t" for="ch" forName="text5" refType="h" fact="0.0028"/>
          <dgm:constr type="w" for="ch" forName="text5" refType="w" fact="0.1624"/>
          <dgm:constr type="h" for="ch" forName="text5" refType="h" fact="0.2645"/>
          <dgm:constr type="l" for="ch" forName="image5" refType="w" fact="0.6986"/>
          <dgm:constr type="t" for="ch" forName="image5" refType="h" fact="0.1504"/>
          <dgm:constr type="w" for="ch" forName="image5" refType="w" fact="0.1624"/>
          <dgm:constr type="h" for="ch" forName="image5" refType="h" fact="0.2645"/>
          <dgm:constr type="l" for="ch" forName="image2" refType="w" fact="0.4192"/>
          <dgm:constr type="t" for="ch" forName="image2" refType="h" fact="0.439"/>
          <dgm:constr type="w" for="ch" forName="image2" refType="w" fact="0.1624"/>
          <dgm:constr type="h" for="ch" forName="image2" refType="h" fact="0.2645"/>
          <dgm:constr type="l" for="ch" forName="text4" refType="w" fact="0.4192"/>
          <dgm:constr type="t" for="ch" forName="text4" refType="h" fact="0.1465"/>
          <dgm:constr type="w" for="ch" forName="text4" refType="w" fact="0.1624"/>
          <dgm:constr type="h" for="ch" forName="text4" refType="h" fact="0.2645"/>
          <dgm:constr type="l" for="ch" forName="text2" refType="w" fact="0.2794"/>
          <dgm:constr type="t" for="ch" forName="text2" refType="h" fact="0.2925"/>
          <dgm:constr type="w" for="ch" forName="text2" refType="w" fact="0.1624"/>
          <dgm:constr type="h" for="ch" forName="text2" refType="h" fact="0.2645"/>
          <dgm:constr type="l" for="ch" forName="image3" refType="w" fact="0.2794"/>
          <dgm:constr type="t" for="ch" forName="image3" refType="h" fact="0"/>
          <dgm:constr type="w" for="ch" forName="image3" refType="w" fact="0.1624"/>
          <dgm:constr type="h" for="ch" forName="image3" refType="h" fact="0.2645"/>
          <dgm:constr type="l" for="ch" forName="text1" refType="w" fact="0.1397"/>
          <dgm:constr type="t" for="ch" forName="text1" refType="h" fact="0.4395"/>
          <dgm:constr type="w" for="ch" forName="text1" refType="w" fact="0.1624"/>
          <dgm:constr type="h" for="ch" forName="text1" refType="h" fact="0.2645"/>
          <dgm:constr type="l" for="ch" forName="text3" refType="w" fact="0.1397"/>
          <dgm:constr type="t" for="ch" forName="text3" refType="h" fact="0.1471"/>
          <dgm:constr type="w" for="ch" forName="text3" refType="w" fact="0.1624"/>
          <dgm:constr type="h" for="ch" forName="text3" refType="h" fact="0.2645"/>
          <dgm:constr type="l" for="ch" forName="textaccent1" refType="w" fact="0.1436"/>
          <dgm:constr type="t" for="ch" forName="textaccent1" refType="h" fact="0.5578"/>
          <dgm:constr type="w" for="ch" forName="textaccent1" refType="w" fact="0.0189"/>
          <dgm:constr type="h" for="ch" forName="textaccent1" refType="h" fact="0.031"/>
          <dgm:constr type="l" for="ch" forName="image1" refType="w" fact="0"/>
          <dgm:constr type="t" for="ch" forName="image1" refType="h" fact="0.2933"/>
          <dgm:constr type="w" for="ch" forName="image1" refType="w" fact="0.1624"/>
          <dgm:constr type="h" for="ch" forName="image1" refType="h" fact="0.2645"/>
          <dgm:constr type="l" for="ch" forName="imageaccent1" refType="w" fact="0.1112"/>
          <dgm:constr type="t" for="ch" forName="imageaccent1" refType="h" fact="0.5227"/>
          <dgm:constr type="w" for="ch" forName="imageaccent1" refType="w" fact="0.0189"/>
          <dgm:constr type="h" for="ch" forName="imageaccent1" refType="h" fact="0.031"/>
          <dgm:constr type="l" for="ch" forName="textaccent2" refType="w" fact="0.3912"/>
          <dgm:constr type="t" for="ch" forName="textaccent2" refType="h" fact="0.5213"/>
          <dgm:constr type="w" for="ch" forName="textaccent2" refType="w" fact="0.0189"/>
          <dgm:constr type="h" for="ch" forName="textaccent2" refType="h" fact="0.031"/>
          <dgm:constr type="l" for="ch" forName="imageaccent2" refType="w" fact="0.4231"/>
          <dgm:constr type="t" for="ch" forName="imageaccent2" refType="h" fact="0.5567"/>
          <dgm:constr type="w" for="ch" forName="imageaccent2" refType="w" fact="0.0189"/>
          <dgm:constr type="h" for="ch" forName="imageaccent2" refType="h" fact="0.031"/>
          <dgm:constr type="l" for="ch" forName="textaccent3" refType="w" fact="0.2502"/>
          <dgm:constr type="t" for="ch" forName="textaccent3" refType="h" fact="0.1507"/>
          <dgm:constr type="w" for="ch" forName="textaccent3" refType="w" fact="0.0189"/>
          <dgm:constr type="h" for="ch" forName="textaccent3" refType="h" fact="0.031"/>
          <dgm:constr type="l" for="ch" forName="imageaccent3" refType="w" fact="0.2841"/>
          <dgm:constr type="t" for="ch" forName="imageaccent3" refType="h" fact="0.1172"/>
          <dgm:constr type="w" for="ch" forName="imageaccent3" refType="w" fact="0.0189"/>
          <dgm:constr type="h" for="ch" forName="imageaccent3" refType="h" fact="0.031"/>
          <dgm:constr type="l" for="ch" forName="textaccent4" refType="w" fact="0.5596"/>
          <dgm:constr type="t" for="ch" forName="textaccent4" refType="h" fact="0.2637"/>
          <dgm:constr type="w" for="ch" forName="textaccent4" refType="w" fact="0.0189"/>
          <dgm:constr type="h" for="ch" forName="textaccent4" refType="h" fact="0.031"/>
          <dgm:constr type="l" for="ch" forName="imageaccent4" refType="w" fact="0.5905"/>
          <dgm:constr type="t" for="ch" forName="imageaccent4" refType="h" fact="0.3"/>
          <dgm:constr type="w" for="ch" forName="imageaccent4" refType="w" fact="0.0189"/>
          <dgm:constr type="h" for="ch" forName="imageaccent4" refType="h" fact="0.031"/>
          <dgm:constr type="l" for="ch" forName="textaccent5" refType="w" fact="0.6993"/>
          <dgm:constr type="t" for="ch" forName="textaccent5" refType="h" fact="0.1214"/>
          <dgm:constr type="w" for="ch" forName="textaccent5" refType="w" fact="0.0189"/>
          <dgm:constr type="h" for="ch" forName="textaccent5" refType="h" fact="0.031"/>
          <dgm:constr type="l" for="ch" forName="imageaccent5" refType="w" fact="0.731"/>
          <dgm:constr type="t" for="ch" forName="imageaccent5" refType="h" fact="0.1563"/>
          <dgm:constr type="w" for="ch" forName="imageaccent5" refType="w" fact="0.0189"/>
          <dgm:constr type="h" for="ch" forName="imageaccent5" refType="h" fact="0.031"/>
          <dgm:constr type="l" for="ch" forName="image6" refType="w" fact="0.5589"/>
          <dgm:constr type="t" for="ch" forName="image6" refType="h" fact="0.5872"/>
          <dgm:constr type="w" for="ch" forName="image6" refType="w" fact="0.1624"/>
          <dgm:constr type="h" for="ch" forName="image6" refType="h" fact="0.2645"/>
          <dgm:constr type="l" for="ch" forName="text6" refType="w" fact="0.6986"/>
          <dgm:constr type="t" for="ch" forName="text6" refType="h" fact="0.4424"/>
          <dgm:constr type="w" for="ch" forName="text6" refType="w" fact="0.1624"/>
          <dgm:constr type="h" for="ch" forName="text6" refType="h" fact="0.2645"/>
          <dgm:constr type="l" for="ch" forName="imageaccent6" refType="w" fact="0.7007"/>
          <dgm:constr type="t" for="ch" forName="imageaccent6" refType="h" fact="0.7033"/>
          <dgm:constr type="w" for="ch" forName="imageaccent6" refType="w" fact="0.0189"/>
          <dgm:constr type="h" for="ch" forName="imageaccent6" refType="h" fact="0.031"/>
          <dgm:constr type="l" for="ch" forName="textaccent6" refType="w" fact="0.7308"/>
          <dgm:constr type="t" for="ch" forName="textaccent6" refType="h" fact="0.6741"/>
          <dgm:constr type="w" for="ch" forName="textaccent6" refType="w" fact="0.0189"/>
          <dgm:constr type="h" for="ch" forName="textaccent6" refType="h" fact="0.031"/>
          <dgm:constr type="l" for="ch" forName="text7" refType="w" fact="0.2793"/>
          <dgm:constr type="t" for="ch" forName="text7" refType="h" fact="0.5856"/>
          <dgm:constr type="w" for="ch" forName="text7" refType="w" fact="0.1624"/>
          <dgm:constr type="h" for="ch" forName="text7" refType="h" fact="0.2645"/>
          <dgm:constr type="l" for="ch" forName="image7" refType="w" fact="0.1396"/>
          <dgm:constr type="t" for="ch" forName="image7" refType="h" fact="0.7326"/>
          <dgm:constr type="w" for="ch" forName="image7" refType="w" fact="0.1624"/>
          <dgm:constr type="h" for="ch" forName="image7" refType="h" fact="0.2645"/>
          <dgm:constr type="l" for="ch" forName="imageaccent7" refType="w" fact="0.2501"/>
          <dgm:constr type="t" for="ch" forName="imageaccent7" refType="h" fact="0.7363"/>
          <dgm:constr type="w" for="ch" forName="imageaccent7" refType="w" fact="0.0189"/>
          <dgm:constr type="h" for="ch" forName="imageaccent7" refType="h" fact="0.031"/>
          <dgm:constr type="l" for="ch" forName="textaccent7" refType="w" fact="0.284"/>
          <dgm:constr type="t" for="ch" forName="textaccent7" refType="h" fact="0.7028"/>
          <dgm:constr type="w" for="ch" forName="textaccent7" refType="w" fact="0.0189"/>
          <dgm:constr type="h" for="ch" forName="textaccent7" refType="h" fact="0.031"/>
          <dgm:constr type="l" for="ch" forName="image8" refType="w" fact="0.6979"/>
          <dgm:constr type="t" for="ch" forName="image8" refType="h" fact="0.7355"/>
          <dgm:constr type="w" for="ch" forName="image8" refType="w" fact="0.1624"/>
          <dgm:constr type="h" for="ch" forName="image8" refType="h" fact="0.2645"/>
          <dgm:constr type="l" for="ch" forName="text8" refType="w" fact="0.8376"/>
          <dgm:constr type="t" for="ch" forName="text8" refType="h" fact="0.5906"/>
          <dgm:constr type="w" for="ch" forName="text8" refType="w" fact="0.1624"/>
          <dgm:constr type="h" for="ch" forName="text8" refType="h" fact="0.2645"/>
          <dgm:constr type="l" for="ch" forName="imageaccent8" refType="w" fact="0.8397"/>
          <dgm:constr type="t" for="ch" forName="imageaccent8" refType="h" fact="0.8516"/>
          <dgm:constr type="w" for="ch" forName="imageaccent8" refType="w" fact="0.0189"/>
          <dgm:constr type="h" for="ch" forName="imageaccent8" refType="h" fact="0.031"/>
          <dgm:constr type="l" for="ch" forName="textaccent8" refType="w" fact="0.8698"/>
          <dgm:constr type="t" for="ch" forName="textaccent8" refType="h" fact="0.8223"/>
          <dgm:constr type="w" for="ch" forName="textaccent8" refType="w" fact="0.0189"/>
          <dgm:constr type="h" for="ch" forName="textaccent8" refType="h" fact="0.031"/>
        </dgm:constrLst>
      </dgm:if>
      <dgm:if name="Name10" axis="ch" ptType="node" func="cnt" op="equ" val="9">
        <dgm:alg type="composite">
          <dgm:param type="ar" val="1.8986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952"/>
          <dgm:constr type="w" for="ch" forName="image4" refType="w" fact="0.1623"/>
          <dgm:constr type="h" for="ch" forName="image4" refType="h" fact="0.2645"/>
          <dgm:constr type="l" for="ch" forName="text5" refType="w" fact="0.5585"/>
          <dgm:constr type="t" for="ch" forName="text5" refType="h" fact="0.0028"/>
          <dgm:constr type="w" for="ch" forName="text5" refType="w" fact="0.1623"/>
          <dgm:constr type="h" for="ch" forName="text5" refType="h" fact="0.2645"/>
          <dgm:constr type="l" for="ch" forName="image5" refType="w" fact="0.6982"/>
          <dgm:constr type="t" for="ch" forName="image5" refType="h" fact="0.1504"/>
          <dgm:constr type="w" for="ch" forName="image5" refType="w" fact="0.1623"/>
          <dgm:constr type="h" for="ch" forName="image5" refType="h" fact="0.2645"/>
          <dgm:constr type="l" for="ch" forName="image2" refType="w" fact="0.4189"/>
          <dgm:constr type="t" for="ch" forName="image2" refType="h" fact="0.439"/>
          <dgm:constr type="w" for="ch" forName="image2" refType="w" fact="0.1623"/>
          <dgm:constr type="h" for="ch" forName="image2" refType="h" fact="0.2645"/>
          <dgm:constr type="l" for="ch" forName="text4" refType="w" fact="0.4189"/>
          <dgm:constr type="t" for="ch" forName="text4" refType="h" fact="0.1465"/>
          <dgm:constr type="w" for="ch" forName="text4" refType="w" fact="0.1623"/>
          <dgm:constr type="h" for="ch" forName="text4" refType="h" fact="0.2645"/>
          <dgm:constr type="l" for="ch" forName="text2" refType="w" fact="0.2793"/>
          <dgm:constr type="t" for="ch" forName="text2" refType="h" fact="0.2925"/>
          <dgm:constr type="w" for="ch" forName="text2" refType="w" fact="0.1623"/>
          <dgm:constr type="h" for="ch" forName="text2" refType="h" fact="0.2645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645"/>
          <dgm:constr type="l" for="ch" forName="text1" refType="w" fact="0.1396"/>
          <dgm:constr type="t" for="ch" forName="text1" refType="h" fact="0.4395"/>
          <dgm:constr type="w" for="ch" forName="text1" refType="w" fact="0.1623"/>
          <dgm:constr type="h" for="ch" forName="text1" refType="h" fact="0.2645"/>
          <dgm:constr type="l" for="ch" forName="text3" refType="w" fact="0.1396"/>
          <dgm:constr type="t" for="ch" forName="text3" refType="h" fact="0.1471"/>
          <dgm:constr type="w" for="ch" forName="text3" refType="w" fact="0.1623"/>
          <dgm:constr type="h" for="ch" forName="text3" refType="h" fact="0.2645"/>
          <dgm:constr type="l" for="ch" forName="textaccent1" refType="w" fact="0.1435"/>
          <dgm:constr type="t" for="ch" forName="textaccent1" refType="h" fact="0.5578"/>
          <dgm:constr type="w" for="ch" forName="textaccent1" refType="w" fact="0.0189"/>
          <dgm:constr type="h" for="ch" forName="textaccent1" refType="h" fact="0.031"/>
          <dgm:constr type="l" for="ch" forName="image1" refType="w" fact="0"/>
          <dgm:constr type="t" for="ch" forName="image1" refType="h" fact="0.2933"/>
          <dgm:constr type="w" for="ch" forName="image1" refType="w" fact="0.1623"/>
          <dgm:constr type="h" for="ch" forName="image1" refType="h" fact="0.2645"/>
          <dgm:constr type="l" for="ch" forName="imageaccent1" refType="w" fact="0.1111"/>
          <dgm:constr type="t" for="ch" forName="imageaccent1" refType="h" fact="0.5227"/>
          <dgm:constr type="w" for="ch" forName="imageaccent1" refType="w" fact="0.0189"/>
          <dgm:constr type="h" for="ch" forName="imageaccent1" refType="h" fact="0.031"/>
          <dgm:constr type="l" for="ch" forName="textaccent2" refType="w" fact="0.391"/>
          <dgm:constr type="t" for="ch" forName="textaccent2" refType="h" fact="0.5213"/>
          <dgm:constr type="w" for="ch" forName="textaccent2" refType="w" fact="0.0189"/>
          <dgm:constr type="h" for="ch" forName="textaccent2" refType="h" fact="0.031"/>
          <dgm:constr type="l" for="ch" forName="imageaccent2" refType="w" fact="0.4228"/>
          <dgm:constr type="t" for="ch" forName="imageaccent2" refType="h" fact="0.5567"/>
          <dgm:constr type="w" for="ch" forName="imageaccent2" refType="w" fact="0.0189"/>
          <dgm:constr type="h" for="ch" forName="imageaccent2" refType="h" fact="0.031"/>
          <dgm:constr type="l" for="ch" forName="textaccent3" refType="w" fact="0.2501"/>
          <dgm:constr type="t" for="ch" forName="textaccent3" refType="h" fact="0.1507"/>
          <dgm:constr type="w" for="ch" forName="textaccent3" refType="w" fact="0.0189"/>
          <dgm:constr type="h" for="ch" forName="textaccent3" refType="h" fact="0.031"/>
          <dgm:constr type="l" for="ch" forName="imageaccent3" refType="w" fact="0.2839"/>
          <dgm:constr type="t" for="ch" forName="imageaccent3" refType="h" fact="0.1172"/>
          <dgm:constr type="w" for="ch" forName="imageaccent3" refType="w" fact="0.0189"/>
          <dgm:constr type="h" for="ch" forName="imageaccent3" refType="h" fact="0.031"/>
          <dgm:constr type="l" for="ch" forName="textaccent4" refType="w" fact="0.5593"/>
          <dgm:constr type="t" for="ch" forName="textaccent4" refType="h" fact="0.2637"/>
          <dgm:constr type="w" for="ch" forName="textaccent4" refType="w" fact="0.0189"/>
          <dgm:constr type="h" for="ch" forName="textaccent4" refType="h" fact="0.031"/>
          <dgm:constr type="l" for="ch" forName="imageaccent4" refType="w" fact="0.5901"/>
          <dgm:constr type="t" for="ch" forName="imageaccent4" refType="h" fact="0.3"/>
          <dgm:constr type="w" for="ch" forName="imageaccent4" refType="w" fact="0.0189"/>
          <dgm:constr type="h" for="ch" forName="imageaccent4" refType="h" fact="0.031"/>
          <dgm:constr type="l" for="ch" forName="textaccent5" refType="w" fact="0.6989"/>
          <dgm:constr type="t" for="ch" forName="textaccent5" refType="h" fact="0.1214"/>
          <dgm:constr type="w" for="ch" forName="textaccent5" refType="w" fact="0.0189"/>
          <dgm:constr type="h" for="ch" forName="textaccent5" refType="h" fact="0.031"/>
          <dgm:constr type="l" for="ch" forName="imageaccent5" refType="w" fact="0.7305"/>
          <dgm:constr type="t" for="ch" forName="imageaccent5" refType="h" fact="0.1563"/>
          <dgm:constr type="w" for="ch" forName="imageaccent5" refType="w" fact="0.0189"/>
          <dgm:constr type="h" for="ch" forName="imageaccent5" refType="h" fact="0.031"/>
          <dgm:constr type="l" for="ch" forName="image6" refType="w" fact="0.5585"/>
          <dgm:constr type="t" for="ch" forName="image6" refType="h" fact="0.5872"/>
          <dgm:constr type="w" for="ch" forName="image6" refType="w" fact="0.1623"/>
          <dgm:constr type="h" for="ch" forName="image6" refType="h" fact="0.2645"/>
          <dgm:constr type="l" for="ch" forName="text6" refType="w" fact="0.6982"/>
          <dgm:constr type="t" for="ch" forName="text6" refType="h" fact="0.4424"/>
          <dgm:constr type="w" for="ch" forName="text6" refType="w" fact="0.1623"/>
          <dgm:constr type="h" for="ch" forName="text6" refType="h" fact="0.2645"/>
          <dgm:constr type="l" for="ch" forName="imageaccent6" refType="w" fact="0.7002"/>
          <dgm:constr type="t" for="ch" forName="imageaccent6" refType="h" fact="0.7033"/>
          <dgm:constr type="w" for="ch" forName="imageaccent6" refType="w" fact="0.0189"/>
          <dgm:constr type="h" for="ch" forName="imageaccent6" refType="h" fact="0.031"/>
          <dgm:constr type="l" for="ch" forName="textaccent6" refType="w" fact="0.7303"/>
          <dgm:constr type="t" for="ch" forName="textaccent6" refType="h" fact="0.6741"/>
          <dgm:constr type="w" for="ch" forName="textaccent6" refType="w" fact="0.0189"/>
          <dgm:constr type="h" for="ch" forName="textaccent6" refType="h" fact="0.031"/>
          <dgm:constr type="l" for="ch" forName="text7" refType="w" fact="0.2792"/>
          <dgm:constr type="t" for="ch" forName="text7" refType="h" fact="0.5856"/>
          <dgm:constr type="w" for="ch" forName="text7" refType="w" fact="0.1623"/>
          <dgm:constr type="h" for="ch" forName="text7" refType="h" fact="0.2645"/>
          <dgm:constr type="l" for="ch" forName="image7" refType="w" fact="0.1395"/>
          <dgm:constr type="t" for="ch" forName="image7" refType="h" fact="0.7326"/>
          <dgm:constr type="w" for="ch" forName="image7" refType="w" fact="0.1623"/>
          <dgm:constr type="h" for="ch" forName="image7" refType="h" fact="0.2645"/>
          <dgm:constr type="l" for="ch" forName="imageaccent7" refType="w" fact="0.25"/>
          <dgm:constr type="t" for="ch" forName="imageaccent7" refType="h" fact="0.7363"/>
          <dgm:constr type="w" for="ch" forName="imageaccent7" refType="w" fact="0.0189"/>
          <dgm:constr type="h" for="ch" forName="imageaccent7" refType="h" fact="0.031"/>
          <dgm:constr type="l" for="ch" forName="textaccent7" refType="w" fact="0.2838"/>
          <dgm:constr type="t" for="ch" forName="textaccent7" refType="h" fact="0.7028"/>
          <dgm:constr type="w" for="ch" forName="textaccent7" refType="w" fact="0.0189"/>
          <dgm:constr type="h" for="ch" forName="textaccent7" refType="h" fact="0.031"/>
          <dgm:constr type="l" for="ch" forName="image8" refType="w" fact="0.6975"/>
          <dgm:constr type="t" for="ch" forName="image8" refType="h" fact="0.7355"/>
          <dgm:constr type="w" for="ch" forName="image8" refType="w" fact="0.1623"/>
          <dgm:constr type="h" for="ch" forName="image8" refType="h" fact="0.2645"/>
          <dgm:constr type="l" for="ch" forName="text8" refType="w" fact="0.8371"/>
          <dgm:constr type="t" for="ch" forName="text8" refType="h" fact="0.5906"/>
          <dgm:constr type="w" for="ch" forName="text8" refType="w" fact="0.1623"/>
          <dgm:constr type="h" for="ch" forName="text8" refType="h" fact="0.2645"/>
          <dgm:constr type="l" for="ch" forName="imageaccent8" refType="w" fact="0.8392"/>
          <dgm:constr type="t" for="ch" forName="imageaccent8" refType="h" fact="0.8516"/>
          <dgm:constr type="w" for="ch" forName="imageaccent8" refType="w" fact="0.0189"/>
          <dgm:constr type="h" for="ch" forName="imageaccent8" refType="h" fact="0.031"/>
          <dgm:constr type="l" for="ch" forName="textaccent8" refType="w" fact="0.8693"/>
          <dgm:constr type="t" for="ch" forName="textaccent8" refType="h" fact="0.8223"/>
          <dgm:constr type="w" for="ch" forName="textaccent8" refType="w" fact="0.0189"/>
          <dgm:constr type="h" for="ch" forName="textaccent8" refType="h" fact="0.031"/>
          <dgm:constr type="l" for="ch" forName="text9" refType="w" fact="0.8377"/>
          <dgm:constr type="t" for="ch" forName="text9" refType="h" fact="0.0057"/>
          <dgm:constr type="w" for="ch" forName="text9" refType="w" fact="0.1623"/>
          <dgm:constr type="h" for="ch" forName="text9" refType="h" fact="0.2645"/>
          <dgm:constr type="l" for="ch" forName="textaccent9" refType="w" fact="0.95"/>
          <dgm:constr type="t" for="ch" forName="textaccent9" refType="h" fact="0.2383"/>
          <dgm:constr type="w" for="ch" forName="textaccent9" refType="w" fact="0.0189"/>
          <dgm:constr type="h" for="ch" forName="textaccent9" refType="h" fact="0.031"/>
          <dgm:constr type="l" for="ch" forName="image9" refType="w" fact="0.8377"/>
          <dgm:constr type="t" for="ch" forName="image9" refType="h" fact="0.2977"/>
          <dgm:constr type="w" for="ch" forName="image9" refType="w" fact="0.1623"/>
          <dgm:constr type="h" for="ch" forName="image9" refType="h" fact="0.2645"/>
          <dgm:constr type="l" for="ch" forName="imageaccent9" refType="w" fact="0.95"/>
          <dgm:constr type="t" for="ch" forName="imageaccent9" refType="h" fact="0.2993"/>
          <dgm:constr type="w" for="ch" forName="imageaccent9" refType="w" fact="0.0189"/>
          <dgm:constr type="h" for="ch" forName="imageaccent9" refType="h" fact="0.031"/>
        </dgm:constrLst>
      </dgm:if>
      <dgm:if name="Name11" axis="ch" ptType="node" func="cnt" op="equ" val="10">
        <dgm:alg type="composite">
          <dgm:param type="ar" val="1.6608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583"/>
          <dgm:constr type="w" for="ch" forName="image4" refType="w" fact="0.1623"/>
          <dgm:constr type="h" for="ch" forName="image4" refType="h" fact="0.2314"/>
          <dgm:constr type="l" for="ch" forName="text5" refType="w" fact="0.5585"/>
          <dgm:constr type="t" for="ch" forName="text5" refType="h" fact="0.0024"/>
          <dgm:constr type="w" for="ch" forName="text5" refType="w" fact="0.1623"/>
          <dgm:constr type="h" for="ch" forName="text5" refType="h" fact="0.2314"/>
          <dgm:constr type="l" for="ch" forName="image5" refType="w" fact="0.6982"/>
          <dgm:constr type="t" for="ch" forName="image5" refType="h" fact="0.1316"/>
          <dgm:constr type="w" for="ch" forName="image5" refType="w" fact="0.1623"/>
          <dgm:constr type="h" for="ch" forName="image5" refType="h" fact="0.2314"/>
          <dgm:constr type="l" for="ch" forName="image2" refType="w" fact="0.4189"/>
          <dgm:constr type="t" for="ch" forName="image2" refType="h" fact="0.384"/>
          <dgm:constr type="w" for="ch" forName="image2" refType="w" fact="0.1623"/>
          <dgm:constr type="h" for="ch" forName="image2" refType="h" fact="0.2314"/>
          <dgm:constr type="l" for="ch" forName="text4" refType="w" fact="0.4189"/>
          <dgm:constr type="t" for="ch" forName="text4" refType="h" fact="0.1282"/>
          <dgm:constr type="w" for="ch" forName="text4" refType="w" fact="0.1623"/>
          <dgm:constr type="h" for="ch" forName="text4" refType="h" fact="0.2314"/>
          <dgm:constr type="l" for="ch" forName="text2" refType="w" fact="0.2793"/>
          <dgm:constr type="t" for="ch" forName="text2" refType="h" fact="0.2558"/>
          <dgm:constr type="w" for="ch" forName="text2" refType="w" fact="0.1623"/>
          <dgm:constr type="h" for="ch" forName="text2" refType="h" fact="0.2314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314"/>
          <dgm:constr type="l" for="ch" forName="text1" refType="w" fact="0.1396"/>
          <dgm:constr type="t" for="ch" forName="text1" refType="h" fact="0.3845"/>
          <dgm:constr type="w" for="ch" forName="text1" refType="w" fact="0.1623"/>
          <dgm:constr type="h" for="ch" forName="text1" refType="h" fact="0.2314"/>
          <dgm:constr type="l" for="ch" forName="text3" refType="w" fact="0.1396"/>
          <dgm:constr type="t" for="ch" forName="text3" refType="h" fact="0.1286"/>
          <dgm:constr type="w" for="ch" forName="text3" refType="w" fact="0.1623"/>
          <dgm:constr type="h" for="ch" forName="text3" refType="h" fact="0.2314"/>
          <dgm:constr type="l" for="ch" forName="textaccent1" refType="w" fact="0.1435"/>
          <dgm:constr type="t" for="ch" forName="textaccent1" refType="h" fact="0.488"/>
          <dgm:constr type="w" for="ch" forName="textaccent1" refType="w" fact="0.0189"/>
          <dgm:constr type="h" for="ch" forName="textaccent1" refType="h" fact="0.0271"/>
          <dgm:constr type="l" for="ch" forName="image1" refType="w" fact="0"/>
          <dgm:constr type="t" for="ch" forName="image1" refType="h" fact="0.2566"/>
          <dgm:constr type="w" for="ch" forName="image1" refType="w" fact="0.1623"/>
          <dgm:constr type="h" for="ch" forName="image1" refType="h" fact="0.2314"/>
          <dgm:constr type="l" for="ch" forName="imageaccent1" refType="w" fact="0.1111"/>
          <dgm:constr type="t" for="ch" forName="imageaccent1" refType="h" fact="0.4572"/>
          <dgm:constr type="w" for="ch" forName="imageaccent1" refType="w" fact="0.0189"/>
          <dgm:constr type="h" for="ch" forName="imageaccent1" refType="h" fact="0.0271"/>
          <dgm:constr type="l" for="ch" forName="textaccent2" refType="w" fact="0.391"/>
          <dgm:constr type="t" for="ch" forName="textaccent2" refType="h" fact="0.456"/>
          <dgm:constr type="w" for="ch" forName="textaccent2" refType="w" fact="0.0189"/>
          <dgm:constr type="h" for="ch" forName="textaccent2" refType="h" fact="0.0271"/>
          <dgm:constr type="l" for="ch" forName="imageaccent2" refType="w" fact="0.4228"/>
          <dgm:constr type="t" for="ch" forName="imageaccent2" refType="h" fact="0.487"/>
          <dgm:constr type="w" for="ch" forName="imageaccent2" refType="w" fact="0.0189"/>
          <dgm:constr type="h" for="ch" forName="imageaccent2" refType="h" fact="0.0271"/>
          <dgm:constr type="l" for="ch" forName="textaccent3" refType="w" fact="0.2501"/>
          <dgm:constr type="t" for="ch" forName="textaccent3" refType="h" fact="0.1318"/>
          <dgm:constr type="w" for="ch" forName="textaccent3" refType="w" fact="0.0189"/>
          <dgm:constr type="h" for="ch" forName="textaccent3" refType="h" fact="0.0271"/>
          <dgm:constr type="l" for="ch" forName="imageaccent3" refType="w" fact="0.2839"/>
          <dgm:constr type="t" for="ch" forName="imageaccent3" refType="h" fact="0.1025"/>
          <dgm:constr type="w" for="ch" forName="imageaccent3" refType="w" fact="0.0189"/>
          <dgm:constr type="h" for="ch" forName="imageaccent3" refType="h" fact="0.0271"/>
          <dgm:constr type="l" for="ch" forName="textaccent4" refType="w" fact="0.5593"/>
          <dgm:constr type="t" for="ch" forName="textaccent4" refType="h" fact="0.2307"/>
          <dgm:constr type="w" for="ch" forName="textaccent4" refType="w" fact="0.0189"/>
          <dgm:constr type="h" for="ch" forName="textaccent4" refType="h" fact="0.0271"/>
          <dgm:constr type="l" for="ch" forName="imageaccent4" refType="w" fact="0.5901"/>
          <dgm:constr type="t" for="ch" forName="imageaccent4" refType="h" fact="0.2624"/>
          <dgm:constr type="w" for="ch" forName="imageaccent4" refType="w" fact="0.0189"/>
          <dgm:constr type="h" for="ch" forName="imageaccent4" refType="h" fact="0.0271"/>
          <dgm:constr type="l" for="ch" forName="textaccent5" refType="w" fact="0.6989"/>
          <dgm:constr type="t" for="ch" forName="textaccent5" refType="h" fact="0.1062"/>
          <dgm:constr type="w" for="ch" forName="textaccent5" refType="w" fact="0.0189"/>
          <dgm:constr type="h" for="ch" forName="textaccent5" refType="h" fact="0.0271"/>
          <dgm:constr type="l" for="ch" forName="imageaccent5" refType="w" fact="0.7305"/>
          <dgm:constr type="t" for="ch" forName="imageaccent5" refType="h" fact="0.1367"/>
          <dgm:constr type="w" for="ch" forName="imageaccent5" refType="w" fact="0.0189"/>
          <dgm:constr type="h" for="ch" forName="imageaccent5" refType="h" fact="0.0271"/>
          <dgm:constr type="l" for="ch" forName="image6" refType="w" fact="0.5585"/>
          <dgm:constr type="t" for="ch" forName="image6" refType="h" fact="0.5137"/>
          <dgm:constr type="w" for="ch" forName="image6" refType="w" fact="0.1623"/>
          <dgm:constr type="h" for="ch" forName="image6" refType="h" fact="0.2314"/>
          <dgm:constr type="l" for="ch" forName="text6" refType="w" fact="0.6982"/>
          <dgm:constr type="t" for="ch" forName="text6" refType="h" fact="0.387"/>
          <dgm:constr type="w" for="ch" forName="text6" refType="w" fact="0.1623"/>
          <dgm:constr type="h" for="ch" forName="text6" refType="h" fact="0.2314"/>
          <dgm:constr type="l" for="ch" forName="imageaccent6" refType="w" fact="0.7002"/>
          <dgm:constr type="t" for="ch" forName="imageaccent6" refType="h" fact="0.6152"/>
          <dgm:constr type="w" for="ch" forName="imageaccent6" refType="w" fact="0.0189"/>
          <dgm:constr type="h" for="ch" forName="imageaccent6" refType="h" fact="0.0271"/>
          <dgm:constr type="l" for="ch" forName="textaccent6" refType="w" fact="0.7303"/>
          <dgm:constr type="t" for="ch" forName="textaccent6" refType="h" fact="0.5897"/>
          <dgm:constr type="w" for="ch" forName="textaccent6" refType="w" fact="0.0189"/>
          <dgm:constr type="h" for="ch" forName="textaccent6" refType="h" fact="0.0271"/>
          <dgm:constr type="l" for="ch" forName="text7" refType="w" fact="0.2792"/>
          <dgm:constr type="t" for="ch" forName="text7" refType="h" fact="0.5122"/>
          <dgm:constr type="w" for="ch" forName="text7" refType="w" fact="0.1623"/>
          <dgm:constr type="h" for="ch" forName="text7" refType="h" fact="0.2314"/>
          <dgm:constr type="l" for="ch" forName="image7" refType="w" fact="0.1395"/>
          <dgm:constr type="t" for="ch" forName="image7" refType="h" fact="0.6409"/>
          <dgm:constr type="w" for="ch" forName="image7" refType="w" fact="0.1623"/>
          <dgm:constr type="h" for="ch" forName="image7" refType="h" fact="0.2314"/>
          <dgm:constr type="l" for="ch" forName="imageaccent7" refType="w" fact="0.25"/>
          <dgm:constr type="t" for="ch" forName="imageaccent7" refType="h" fact="0.6441"/>
          <dgm:constr type="w" for="ch" forName="imageaccent7" refType="w" fact="0.0189"/>
          <dgm:constr type="h" for="ch" forName="imageaccent7" refType="h" fact="0.0271"/>
          <dgm:constr type="l" for="ch" forName="textaccent7" refType="w" fact="0.2838"/>
          <dgm:constr type="t" for="ch" forName="textaccent7" refType="h" fact="0.6148"/>
          <dgm:constr type="w" for="ch" forName="textaccent7" refType="w" fact="0.0189"/>
          <dgm:constr type="h" for="ch" forName="textaccent7" refType="h" fact="0.0271"/>
          <dgm:constr type="l" for="ch" forName="image8" refType="w" fact="0.6975"/>
          <dgm:constr type="t" for="ch" forName="image8" refType="h" fact="0.6433"/>
          <dgm:constr type="w" for="ch" forName="image8" refType="w" fact="0.1623"/>
          <dgm:constr type="h" for="ch" forName="image8" refType="h" fact="0.2314"/>
          <dgm:constr type="l" for="ch" forName="text8" refType="w" fact="0.8371"/>
          <dgm:constr type="t" for="ch" forName="text8" refType="h" fact="0.5167"/>
          <dgm:constr type="w" for="ch" forName="text8" refType="w" fact="0.1623"/>
          <dgm:constr type="h" for="ch" forName="text8" refType="h" fact="0.2314"/>
          <dgm:constr type="l" for="ch" forName="imageaccent8" refType="w" fact="0.8392"/>
          <dgm:constr type="t" for="ch" forName="imageaccent8" refType="h" fact="0.7449"/>
          <dgm:constr type="w" for="ch" forName="imageaccent8" refType="w" fact="0.0189"/>
          <dgm:constr type="h" for="ch" forName="imageaccent8" refType="h" fact="0.0271"/>
          <dgm:constr type="l" for="ch" forName="textaccent8" refType="w" fact="0.8693"/>
          <dgm:constr type="t" for="ch" forName="textaccent8" refType="h" fact="0.7194"/>
          <dgm:constr type="w" for="ch" forName="textaccent8" refType="w" fact="0.0189"/>
          <dgm:constr type="h" for="ch" forName="textaccent8" refType="h" fact="0.0271"/>
          <dgm:constr type="l" for="ch" forName="text9" refType="w" fact="0.8377"/>
          <dgm:constr type="t" for="ch" forName="text9" refType="h" fact="0.005"/>
          <dgm:constr type="w" for="ch" forName="text9" refType="w" fact="0.1623"/>
          <dgm:constr type="h" for="ch" forName="text9" refType="h" fact="0.2314"/>
          <dgm:constr type="l" for="ch" forName="textaccent9" refType="w" fact="0.95"/>
          <dgm:constr type="t" for="ch" forName="textaccent9" refType="h" fact="0.2084"/>
          <dgm:constr type="w" for="ch" forName="textaccent9" refType="w" fact="0.0189"/>
          <dgm:constr type="h" for="ch" forName="textaccent9" refType="h" fact="0.0271"/>
          <dgm:constr type="l" for="ch" forName="image9" refType="w" fact="0.8377"/>
          <dgm:constr type="t" for="ch" forName="image9" refType="h" fact="0.2604"/>
          <dgm:constr type="w" for="ch" forName="image9" refType="w" fact="0.1623"/>
          <dgm:constr type="h" for="ch" forName="image9" refType="h" fact="0.2314"/>
          <dgm:constr type="l" for="ch" forName="imageaccent9" refType="w" fact="0.95"/>
          <dgm:constr type="t" for="ch" forName="imageaccent9" refType="h" fact="0.2618"/>
          <dgm:constr type="w" for="ch" forName="imageaccent9" refType="w" fact="0.0189"/>
          <dgm:constr type="h" for="ch" forName="imageaccent9" refType="h" fact="0.0271"/>
          <dgm:constr type="l" for="ch" forName="image10" refType="w" fact="0.2786"/>
          <dgm:constr type="t" for="ch" forName="image10" refType="h" fact="0.7686"/>
          <dgm:constr type="w" for="ch" forName="image10" refType="w" fact="0.1623"/>
          <dgm:constr type="h" for="ch" forName="image10" refType="h" fact="0.2314"/>
          <dgm:constr type="l" for="ch" forName="text10" refType="w" fact="0.4183"/>
          <dgm:constr type="t" for="ch" forName="text10" refType="h" fact="0.6419"/>
          <dgm:constr type="w" for="ch" forName="text10" refType="w" fact="0.1623"/>
          <dgm:constr type="h" for="ch" forName="text10" refType="h" fact="0.2314"/>
          <dgm:constr type="l" for="ch" forName="imageaccent10" refType="w" fact="0.4203"/>
          <dgm:constr type="t" for="ch" forName="imageaccent10" refType="h" fact="0.8701"/>
          <dgm:constr type="w" for="ch" forName="imageaccent10" refType="w" fact="0.0189"/>
          <dgm:constr type="h" for="ch" forName="imageaccent10" refType="h" fact="0.0271"/>
          <dgm:constr type="l" for="ch" forName="textaccent10" refType="w" fact="0.4504"/>
          <dgm:constr type="t" for="ch" forName="textaccent10" refType="h" fact="0.8446"/>
          <dgm:constr type="w" for="ch" forName="textaccent10" refType="w" fact="0.0189"/>
          <dgm:constr type="h" for="ch" forName="textaccent10" refType="h" fact="0.0271"/>
        </dgm:constrLst>
      </dgm:if>
      <dgm:if name="Name12" axis="ch" ptType="node" func="cnt" op="equ" val="11">
        <dgm:alg type="composite">
          <dgm:param type="ar" val="1.4704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287"/>
          <dgm:constr type="w" for="ch" forName="image4" refType="w" fact="0.1623"/>
          <dgm:constr type="h" for="ch" forName="image4" refType="h" fact="0.2049"/>
          <dgm:constr type="l" for="ch" forName="text5" refType="w" fact="0.5585"/>
          <dgm:constr type="t" for="ch" forName="text5" refType="h" fact="0.0022"/>
          <dgm:constr type="w" for="ch" forName="text5" refType="w" fact="0.1623"/>
          <dgm:constr type="h" for="ch" forName="text5" refType="h" fact="0.2049"/>
          <dgm:constr type="l" for="ch" forName="image5" refType="w" fact="0.6982"/>
          <dgm:constr type="t" for="ch" forName="image5" refType="h" fact="0.1165"/>
          <dgm:constr type="w" for="ch" forName="image5" refType="w" fact="0.1623"/>
          <dgm:constr type="h" for="ch" forName="image5" refType="h" fact="0.2049"/>
          <dgm:constr type="l" for="ch" forName="image2" refType="w" fact="0.4189"/>
          <dgm:constr type="t" for="ch" forName="image2" refType="h" fact="0.34"/>
          <dgm:constr type="w" for="ch" forName="image2" refType="w" fact="0.1623"/>
          <dgm:constr type="h" for="ch" forName="image2" refType="h" fact="0.2049"/>
          <dgm:constr type="l" for="ch" forName="text4" refType="w" fact="0.4189"/>
          <dgm:constr type="t" for="ch" forName="text4" refType="h" fact="0.1135"/>
          <dgm:constr type="w" for="ch" forName="text4" refType="w" fact="0.1623"/>
          <dgm:constr type="h" for="ch" forName="text4" refType="h" fact="0.2049"/>
          <dgm:constr type="l" for="ch" forName="text2" refType="w" fact="0.2793"/>
          <dgm:constr type="t" for="ch" forName="text2" refType="h" fact="0.2265"/>
          <dgm:constr type="w" for="ch" forName="text2" refType="w" fact="0.1623"/>
          <dgm:constr type="h" for="ch" forName="text2" refType="h" fact="0.2049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049"/>
          <dgm:constr type="l" for="ch" forName="text1" refType="w" fact="0.1396"/>
          <dgm:constr type="t" for="ch" forName="text1" refType="h" fact="0.3404"/>
          <dgm:constr type="w" for="ch" forName="text1" refType="w" fact="0.1623"/>
          <dgm:constr type="h" for="ch" forName="text1" refType="h" fact="0.2049"/>
          <dgm:constr type="l" for="ch" forName="text3" refType="w" fact="0.1396"/>
          <dgm:constr type="t" for="ch" forName="text3" refType="h" fact="0.1139"/>
          <dgm:constr type="w" for="ch" forName="text3" refType="w" fact="0.1623"/>
          <dgm:constr type="h" for="ch" forName="text3" refType="h" fact="0.2049"/>
          <dgm:constr type="l" for="ch" forName="textaccent1" refType="w" fact="0.1435"/>
          <dgm:constr type="t" for="ch" forName="textaccent1" refType="h" fact="0.432"/>
          <dgm:constr type="w" for="ch" forName="textaccent1" refType="w" fact="0.0189"/>
          <dgm:constr type="h" for="ch" forName="textaccent1" refType="h" fact="0.024"/>
          <dgm:constr type="l" for="ch" forName="image1" refType="w" fact="0"/>
          <dgm:constr type="t" for="ch" forName="image1" refType="h" fact="0.2272"/>
          <dgm:constr type="w" for="ch" forName="image1" refType="w" fact="0.1623"/>
          <dgm:constr type="h" for="ch" forName="image1" refType="h" fact="0.2049"/>
          <dgm:constr type="l" for="ch" forName="imageaccent1" refType="w" fact="0.1111"/>
          <dgm:constr type="t" for="ch" forName="imageaccent1" refType="h" fact="0.4048"/>
          <dgm:constr type="w" for="ch" forName="imageaccent1" refType="w" fact="0.0189"/>
          <dgm:constr type="h" for="ch" forName="imageaccent1" refType="h" fact="0.024"/>
          <dgm:constr type="l" for="ch" forName="textaccent2" refType="w" fact="0.391"/>
          <dgm:constr type="t" for="ch" forName="textaccent2" refType="h" fact="0.4038"/>
          <dgm:constr type="w" for="ch" forName="textaccent2" refType="w" fact="0.0189"/>
          <dgm:constr type="h" for="ch" forName="textaccent2" refType="h" fact="0.024"/>
          <dgm:constr type="l" for="ch" forName="imageaccent2" refType="w" fact="0.4228"/>
          <dgm:constr type="t" for="ch" forName="imageaccent2" refType="h" fact="0.4312"/>
          <dgm:constr type="w" for="ch" forName="imageaccent2" refType="w" fact="0.0189"/>
          <dgm:constr type="h" for="ch" forName="imageaccent2" refType="h" fact="0.024"/>
          <dgm:constr type="l" for="ch" forName="textaccent3" refType="w" fact="0.2501"/>
          <dgm:constr type="t" for="ch" forName="textaccent3" refType="h" fact="0.1167"/>
          <dgm:constr type="w" for="ch" forName="textaccent3" refType="w" fact="0.0189"/>
          <dgm:constr type="h" for="ch" forName="textaccent3" refType="h" fact="0.024"/>
          <dgm:constr type="l" for="ch" forName="imageaccent3" refType="w" fact="0.2839"/>
          <dgm:constr type="t" for="ch" forName="imageaccent3" refType="h" fact="0.0908"/>
          <dgm:constr type="w" for="ch" forName="imageaccent3" refType="w" fact="0.0189"/>
          <dgm:constr type="h" for="ch" forName="imageaccent3" refType="h" fact="0.024"/>
          <dgm:constr type="l" for="ch" forName="textaccent4" refType="w" fact="0.5593"/>
          <dgm:constr type="t" for="ch" forName="textaccent4" refType="h" fact="0.2042"/>
          <dgm:constr type="w" for="ch" forName="textaccent4" refType="w" fact="0.0189"/>
          <dgm:constr type="h" for="ch" forName="textaccent4" refType="h" fact="0.024"/>
          <dgm:constr type="l" for="ch" forName="imageaccent4" refType="w" fact="0.5901"/>
          <dgm:constr type="t" for="ch" forName="imageaccent4" refType="h" fact="0.2323"/>
          <dgm:constr type="w" for="ch" forName="imageaccent4" refType="w" fact="0.0189"/>
          <dgm:constr type="h" for="ch" forName="imageaccent4" refType="h" fact="0.024"/>
          <dgm:constr type="l" for="ch" forName="textaccent5" refType="w" fact="0.6989"/>
          <dgm:constr type="t" for="ch" forName="textaccent5" refType="h" fact="0.094"/>
          <dgm:constr type="w" for="ch" forName="textaccent5" refType="w" fact="0.0189"/>
          <dgm:constr type="h" for="ch" forName="textaccent5" refType="h" fact="0.024"/>
          <dgm:constr type="l" for="ch" forName="imageaccent5" refType="w" fact="0.7305"/>
          <dgm:constr type="t" for="ch" forName="imageaccent5" refType="h" fact="0.121"/>
          <dgm:constr type="w" for="ch" forName="imageaccent5" refType="w" fact="0.0189"/>
          <dgm:constr type="h" for="ch" forName="imageaccent5" refType="h" fact="0.024"/>
          <dgm:constr type="l" for="ch" forName="image6" refType="w" fact="0.5585"/>
          <dgm:constr type="t" for="ch" forName="image6" refType="h" fact="0.4548"/>
          <dgm:constr type="w" for="ch" forName="image6" refType="w" fact="0.1623"/>
          <dgm:constr type="h" for="ch" forName="image6" refType="h" fact="0.2049"/>
          <dgm:constr type="l" for="ch" forName="text6" refType="w" fact="0.6982"/>
          <dgm:constr type="t" for="ch" forName="text6" refType="h" fact="0.3426"/>
          <dgm:constr type="w" for="ch" forName="text6" refType="w" fact="0.1623"/>
          <dgm:constr type="h" for="ch" forName="text6" refType="h" fact="0.2049"/>
          <dgm:constr type="l" for="ch" forName="imageaccent6" refType="w" fact="0.7002"/>
          <dgm:constr type="t" for="ch" forName="imageaccent6" refType="h" fact="0.5447"/>
          <dgm:constr type="w" for="ch" forName="imageaccent6" refType="w" fact="0.0189"/>
          <dgm:constr type="h" for="ch" forName="imageaccent6" refType="h" fact="0.024"/>
          <dgm:constr type="l" for="ch" forName="textaccent6" refType="w" fact="0.7303"/>
          <dgm:constr type="t" for="ch" forName="textaccent6" refType="h" fact="0.5221"/>
          <dgm:constr type="w" for="ch" forName="textaccent6" refType="w" fact="0.0189"/>
          <dgm:constr type="h" for="ch" forName="textaccent6" refType="h" fact="0.024"/>
          <dgm:constr type="l" for="ch" forName="text7" refType="w" fact="0.2792"/>
          <dgm:constr type="t" for="ch" forName="text7" refType="h" fact="0.4535"/>
          <dgm:constr type="w" for="ch" forName="text7" refType="w" fact="0.1623"/>
          <dgm:constr type="h" for="ch" forName="text7" refType="h" fact="0.2049"/>
          <dgm:constr type="l" for="ch" forName="image7" refType="w" fact="0.1395"/>
          <dgm:constr type="t" for="ch" forName="image7" refType="h" fact="0.5674"/>
          <dgm:constr type="w" for="ch" forName="image7" refType="w" fact="0.1623"/>
          <dgm:constr type="h" for="ch" forName="image7" refType="h" fact="0.2049"/>
          <dgm:constr type="l" for="ch" forName="imageaccent7" refType="w" fact="0.25"/>
          <dgm:constr type="t" for="ch" forName="imageaccent7" refType="h" fact="0.5703"/>
          <dgm:constr type="w" for="ch" forName="imageaccent7" refType="w" fact="0.0189"/>
          <dgm:constr type="h" for="ch" forName="imageaccent7" refType="h" fact="0.024"/>
          <dgm:constr type="l" for="ch" forName="textaccent7" refType="w" fact="0.2838"/>
          <dgm:constr type="t" for="ch" forName="textaccent7" refType="h" fact="0.5443"/>
          <dgm:constr type="w" for="ch" forName="textaccent7" refType="w" fact="0.0189"/>
          <dgm:constr type="h" for="ch" forName="textaccent7" refType="h" fact="0.024"/>
          <dgm:constr type="l" for="ch" forName="image8" refType="w" fact="0.6975"/>
          <dgm:constr type="t" for="ch" forName="image8" refType="h" fact="0.5696"/>
          <dgm:constr type="w" for="ch" forName="image8" refType="w" fact="0.1623"/>
          <dgm:constr type="h" for="ch" forName="image8" refType="h" fact="0.2049"/>
          <dgm:constr type="l" for="ch" forName="text8" refType="w" fact="0.8371"/>
          <dgm:constr type="t" for="ch" forName="text8" refType="h" fact="0.4574"/>
          <dgm:constr type="w" for="ch" forName="text8" refType="w" fact="0.1623"/>
          <dgm:constr type="h" for="ch" forName="text8" refType="h" fact="0.2049"/>
          <dgm:constr type="l" for="ch" forName="imageaccent8" refType="w" fact="0.8392"/>
          <dgm:constr type="t" for="ch" forName="imageaccent8" refType="h" fact="0.6595"/>
          <dgm:constr type="w" for="ch" forName="imageaccent8" refType="w" fact="0.0189"/>
          <dgm:constr type="h" for="ch" forName="imageaccent8" refType="h" fact="0.024"/>
          <dgm:constr type="l" for="ch" forName="textaccent8" refType="w" fact="0.8693"/>
          <dgm:constr type="t" for="ch" forName="textaccent8" refType="h" fact="0.6369"/>
          <dgm:constr type="w" for="ch" forName="textaccent8" refType="w" fact="0.0189"/>
          <dgm:constr type="h" for="ch" forName="textaccent8" refType="h" fact="0.024"/>
          <dgm:constr type="l" for="ch" forName="text9" refType="w" fact="0.8377"/>
          <dgm:constr type="t" for="ch" forName="text9" refType="h" fact="0.0044"/>
          <dgm:constr type="w" for="ch" forName="text9" refType="w" fact="0.1623"/>
          <dgm:constr type="h" for="ch" forName="text9" refType="h" fact="0.2049"/>
          <dgm:constr type="l" for="ch" forName="textaccent9" refType="w" fact="0.95"/>
          <dgm:constr type="t" for="ch" forName="textaccent9" refType="h" fact="0.1846"/>
          <dgm:constr type="w" for="ch" forName="textaccent9" refType="w" fact="0.0189"/>
          <dgm:constr type="h" for="ch" forName="textaccent9" refType="h" fact="0.024"/>
          <dgm:constr type="l" for="ch" forName="image9" refType="w" fact="0.8377"/>
          <dgm:constr type="t" for="ch" forName="image9" refType="h" fact="0.2306"/>
          <dgm:constr type="w" for="ch" forName="image9" refType="w" fact="0.1623"/>
          <dgm:constr type="h" for="ch" forName="image9" refType="h" fact="0.2049"/>
          <dgm:constr type="l" for="ch" forName="imageaccent9" refType="w" fact="0.95"/>
          <dgm:constr type="t" for="ch" forName="imageaccent9" refType="h" fact="0.2318"/>
          <dgm:constr type="w" for="ch" forName="imageaccent9" refType="w" fact="0.0189"/>
          <dgm:constr type="h" for="ch" forName="imageaccent9" refType="h" fact="0.024"/>
          <dgm:constr type="l" for="ch" forName="image10" refType="w" fact="0.2786"/>
          <dgm:constr type="t" for="ch" forName="image10" refType="h" fact="0.6805"/>
          <dgm:constr type="w" for="ch" forName="image10" refType="w" fact="0.1623"/>
          <dgm:constr type="h" for="ch" forName="image10" refType="h" fact="0.2049"/>
          <dgm:constr type="l" for="ch" forName="text10" refType="w" fact="0.4183"/>
          <dgm:constr type="t" for="ch" forName="text10" refType="h" fact="0.5683"/>
          <dgm:constr type="w" for="ch" forName="text10" refType="w" fact="0.1623"/>
          <dgm:constr type="h" for="ch" forName="text10" refType="h" fact="0.2049"/>
          <dgm:constr type="l" for="ch" forName="imageaccent10" refType="w" fact="0.4203"/>
          <dgm:constr type="t" for="ch" forName="imageaccent10" refType="h" fact="0.7704"/>
          <dgm:constr type="w" for="ch" forName="imageaccent10" refType="w" fact="0.0189"/>
          <dgm:constr type="h" for="ch" forName="imageaccent10" refType="h" fact="0.024"/>
          <dgm:constr type="l" for="ch" forName="textaccent10" refType="w" fact="0.4504"/>
          <dgm:constr type="t" for="ch" forName="textaccent10" refType="h" fact="0.7478"/>
          <dgm:constr type="w" for="ch" forName="textaccent10" refType="w" fact="0.0189"/>
          <dgm:constr type="h" for="ch" forName="textaccent10" refType="h" fact="0.024"/>
          <dgm:constr type="l" for="ch" forName="text11" refType="w" fact="0.6971"/>
          <dgm:constr type="t" for="ch" forName="text11" refType="h" fact="0.7951"/>
          <dgm:constr type="w" for="ch" forName="text11" refType="w" fact="0.1623"/>
          <dgm:constr type="h" for="ch" forName="text11" refType="h" fact="0.2049"/>
          <dgm:constr type="l" for="ch" forName="image11" refType="w" fact="0.5575"/>
          <dgm:constr type="t" for="ch" forName="image11" refType="h" fact="0.6816"/>
          <dgm:constr type="w" for="ch" forName="image11" refType="w" fact="0.1623"/>
          <dgm:constr type="h" for="ch" forName="image11" refType="h" fact="0.2049"/>
          <dgm:constr type="l" for="ch" forName="imageaccent11" refType="w" fact="0.6692"/>
          <dgm:constr type="t" for="ch" forName="imageaccent11" refType="h" fact="0.8589"/>
          <dgm:constr type="w" for="ch" forName="imageaccent11" refType="w" fact="0.0189"/>
          <dgm:constr type="h" for="ch" forName="imageaccent11" refType="h" fact="0.024"/>
          <dgm:constr type="l" for="ch" forName="textaccent11" refType="w" fact="0.701"/>
          <dgm:constr type="t" for="ch" forName="textaccent11" refType="h" fact="0.8863"/>
          <dgm:constr type="w" for="ch" forName="textaccent11" refType="w" fact="0.0189"/>
          <dgm:constr type="h" for="ch" forName="textaccent11" refType="h" fact="0.024"/>
        </dgm:constrLst>
      </dgm:if>
      <dgm:else name="Name13">
        <dgm:alg type="composite">
          <dgm:param type="ar" val="1.675"/>
        </dgm:alg>
        <dgm:constrLst>
          <dgm:constr type="primFontSz" for="des" ptType="node" op="equ" val="65"/>
          <dgm:constr type="l" for="ch" forName="image4" refType="w" fact="0.4903"/>
          <dgm:constr type="t" for="ch" forName="image4" refType="h" fact="0.2287"/>
          <dgm:constr type="w" for="ch" forName="image4" refType="w" fact="0.1425"/>
          <dgm:constr type="h" for="ch" forName="image4" refType="h" fact="0.2049"/>
          <dgm:constr type="l" for="ch" forName="text5" refType="w" fact="0.4903"/>
          <dgm:constr type="t" for="ch" forName="text5" refType="h" fact="0.0022"/>
          <dgm:constr type="w" for="ch" forName="text5" refType="w" fact="0.1425"/>
          <dgm:constr type="h" for="ch" forName="text5" refType="h" fact="0.2049"/>
          <dgm:constr type="l" for="ch" forName="image5" refType="w" fact="0.6129"/>
          <dgm:constr type="t" for="ch" forName="image5" refType="h" fact="0.1165"/>
          <dgm:constr type="w" for="ch" forName="image5" refType="w" fact="0.1425"/>
          <dgm:constr type="h" for="ch" forName="image5" refType="h" fact="0.2049"/>
          <dgm:constr type="l" for="ch" forName="image2" refType="w" fact="0.3677"/>
          <dgm:constr type="t" for="ch" forName="image2" refType="h" fact="0.34"/>
          <dgm:constr type="w" for="ch" forName="image2" refType="w" fact="0.1425"/>
          <dgm:constr type="h" for="ch" forName="image2" refType="h" fact="0.2049"/>
          <dgm:constr type="l" for="ch" forName="text4" refType="w" fact="0.3677"/>
          <dgm:constr type="t" for="ch" forName="text4" refType="h" fact="0.1135"/>
          <dgm:constr type="w" for="ch" forName="text4" refType="w" fact="0.1425"/>
          <dgm:constr type="h" for="ch" forName="text4" refType="h" fact="0.2049"/>
          <dgm:constr type="l" for="ch" forName="text2" refType="w" fact="0.2452"/>
          <dgm:constr type="t" for="ch" forName="text2" refType="h" fact="0.2265"/>
          <dgm:constr type="w" for="ch" forName="text2" refType="w" fact="0.1425"/>
          <dgm:constr type="h" for="ch" forName="text2" refType="h" fact="0.2049"/>
          <dgm:constr type="l" for="ch" forName="image3" refType="w" fact="0.2452"/>
          <dgm:constr type="t" for="ch" forName="image3" refType="h" fact="0"/>
          <dgm:constr type="w" for="ch" forName="image3" refType="w" fact="0.1425"/>
          <dgm:constr type="h" for="ch" forName="image3" refType="h" fact="0.2049"/>
          <dgm:constr type="l" for="ch" forName="text1" refType="w" fact="0.1226"/>
          <dgm:constr type="t" for="ch" forName="text1" refType="h" fact="0.3404"/>
          <dgm:constr type="w" for="ch" forName="text1" refType="w" fact="0.1425"/>
          <dgm:constr type="h" for="ch" forName="text1" refType="h" fact="0.2049"/>
          <dgm:constr type="l" for="ch" forName="text3" refType="w" fact="0.1226"/>
          <dgm:constr type="t" for="ch" forName="text3" refType="h" fact="0.1139"/>
          <dgm:constr type="w" for="ch" forName="text3" refType="w" fact="0.1425"/>
          <dgm:constr type="h" for="ch" forName="text3" refType="h" fact="0.2049"/>
          <dgm:constr type="l" for="ch" forName="textaccent1" refType="w" fact="0.126"/>
          <dgm:constr type="t" for="ch" forName="textaccent1" refType="h" fact="0.432"/>
          <dgm:constr type="w" for="ch" forName="textaccent1" refType="w" fact="0.0166"/>
          <dgm:constr type="h" for="ch" forName="textaccent1" refType="h" fact="0.024"/>
          <dgm:constr type="l" for="ch" forName="image1" refType="w" fact="0"/>
          <dgm:constr type="t" for="ch" forName="image1" refType="h" fact="0.2272"/>
          <dgm:constr type="w" for="ch" forName="image1" refType="w" fact="0.1425"/>
          <dgm:constr type="h" for="ch" forName="image1" refType="h" fact="0.2049"/>
          <dgm:constr type="l" for="ch" forName="imageaccent1" refType="w" fact="0.0976"/>
          <dgm:constr type="t" for="ch" forName="imageaccent1" refType="h" fact="0.4048"/>
          <dgm:constr type="w" for="ch" forName="imageaccent1" refType="w" fact="0.0166"/>
          <dgm:constr type="h" for="ch" forName="imageaccent1" refType="h" fact="0.024"/>
          <dgm:constr type="l" for="ch" forName="textaccent2" refType="w" fact="0.3432"/>
          <dgm:constr type="t" for="ch" forName="textaccent2" refType="h" fact="0.4038"/>
          <dgm:constr type="w" for="ch" forName="textaccent2" refType="w" fact="0.0166"/>
          <dgm:constr type="h" for="ch" forName="textaccent2" refType="h" fact="0.024"/>
          <dgm:constr type="l" for="ch" forName="imageaccent2" refType="w" fact="0.3712"/>
          <dgm:constr type="t" for="ch" forName="imageaccent2" refType="h" fact="0.4312"/>
          <dgm:constr type="w" for="ch" forName="imageaccent2" refType="w" fact="0.0166"/>
          <dgm:constr type="h" for="ch" forName="imageaccent2" refType="h" fact="0.024"/>
          <dgm:constr type="l" for="ch" forName="textaccent3" refType="w" fact="0.2196"/>
          <dgm:constr type="t" for="ch" forName="textaccent3" refType="h" fact="0.1167"/>
          <dgm:constr type="w" for="ch" forName="textaccent3" refType="w" fact="0.0166"/>
          <dgm:constr type="h" for="ch" forName="textaccent3" refType="h" fact="0.024"/>
          <dgm:constr type="l" for="ch" forName="imageaccent3" refType="w" fact="0.2492"/>
          <dgm:constr type="t" for="ch" forName="imageaccent3" refType="h" fact="0.0908"/>
          <dgm:constr type="w" for="ch" forName="imageaccent3" refType="w" fact="0.0166"/>
          <dgm:constr type="h" for="ch" forName="imageaccent3" refType="h" fact="0.024"/>
          <dgm:constr type="l" for="ch" forName="textaccent4" refType="w" fact="0.491"/>
          <dgm:constr type="t" for="ch" forName="textaccent4" refType="h" fact="0.2042"/>
          <dgm:constr type="w" for="ch" forName="textaccent4" refType="w" fact="0.0166"/>
          <dgm:constr type="h" for="ch" forName="textaccent4" refType="h" fact="0.024"/>
          <dgm:constr type="l" for="ch" forName="imageaccent4" refType="w" fact="0.5181"/>
          <dgm:constr type="t" for="ch" forName="imageaccent4" refType="h" fact="0.2323"/>
          <dgm:constr type="w" for="ch" forName="imageaccent4" refType="w" fact="0.0166"/>
          <dgm:constr type="h" for="ch" forName="imageaccent4" refType="h" fact="0.024"/>
          <dgm:constr type="l" for="ch" forName="textaccent5" refType="w" fact="0.6136"/>
          <dgm:constr type="t" for="ch" forName="textaccent5" refType="h" fact="0.094"/>
          <dgm:constr type="w" for="ch" forName="textaccent5" refType="w" fact="0.0166"/>
          <dgm:constr type="h" for="ch" forName="textaccent5" refType="h" fact="0.024"/>
          <dgm:constr type="l" for="ch" forName="imageaccent5" refType="w" fact="0.6413"/>
          <dgm:constr type="t" for="ch" forName="imageaccent5" refType="h" fact="0.121"/>
          <dgm:constr type="w" for="ch" forName="imageaccent5" refType="w" fact="0.0166"/>
          <dgm:constr type="h" for="ch" forName="imageaccent5" refType="h" fact="0.024"/>
          <dgm:constr type="l" for="ch" forName="image6" refType="w" fact="0.4903"/>
          <dgm:constr type="t" for="ch" forName="image6" refType="h" fact="0.4548"/>
          <dgm:constr type="w" for="ch" forName="image6" refType="w" fact="0.1425"/>
          <dgm:constr type="h" for="ch" forName="image6" refType="h" fact="0.2049"/>
          <dgm:constr type="l" for="ch" forName="text6" refType="w" fact="0.6129"/>
          <dgm:constr type="t" for="ch" forName="text6" refType="h" fact="0.3426"/>
          <dgm:constr type="w" for="ch" forName="text6" refType="w" fact="0.1425"/>
          <dgm:constr type="h" for="ch" forName="text6" refType="h" fact="0.2049"/>
          <dgm:constr type="l" for="ch" forName="imageaccent6" refType="w" fact="0.6147"/>
          <dgm:constr type="t" for="ch" forName="imageaccent6" refType="h" fact="0.5447"/>
          <dgm:constr type="w" for="ch" forName="imageaccent6" refType="w" fact="0.0166"/>
          <dgm:constr type="h" for="ch" forName="imageaccent6" refType="h" fact="0.024"/>
          <dgm:constr type="l" for="ch" forName="textaccent6" refType="w" fact="0.6411"/>
          <dgm:constr type="t" for="ch" forName="textaccent6" refType="h" fact="0.5221"/>
          <dgm:constr type="w" for="ch" forName="textaccent6" refType="w" fact="0.0166"/>
          <dgm:constr type="h" for="ch" forName="textaccent6" refType="h" fact="0.024"/>
          <dgm:constr type="l" for="ch" forName="text7" refType="w" fact="0.2451"/>
          <dgm:constr type="t" for="ch" forName="text7" refType="h" fact="0.4535"/>
          <dgm:constr type="w" for="ch" forName="text7" refType="w" fact="0.1425"/>
          <dgm:constr type="h" for="ch" forName="text7" refType="h" fact="0.2049"/>
          <dgm:constr type="l" for="ch" forName="image7" refType="w" fact="0.1225"/>
          <dgm:constr type="t" for="ch" forName="image7" refType="h" fact="0.5674"/>
          <dgm:constr type="w" for="ch" forName="image7" refType="w" fact="0.1425"/>
          <dgm:constr type="h" for="ch" forName="image7" refType="h" fact="0.2049"/>
          <dgm:constr type="l" for="ch" forName="imageaccent7" refType="w" fact="0.2195"/>
          <dgm:constr type="t" for="ch" forName="imageaccent7" refType="h" fact="0.5703"/>
          <dgm:constr type="w" for="ch" forName="imageaccent7" refType="w" fact="0.0166"/>
          <dgm:constr type="h" for="ch" forName="imageaccent7" refType="h" fact="0.024"/>
          <dgm:constr type="l" for="ch" forName="textaccent7" refType="w" fact="0.2491"/>
          <dgm:constr type="t" for="ch" forName="textaccent7" refType="h" fact="0.5443"/>
          <dgm:constr type="w" for="ch" forName="textaccent7" refType="w" fact="0.0166"/>
          <dgm:constr type="h" for="ch" forName="textaccent7" refType="h" fact="0.024"/>
          <dgm:constr type="l" for="ch" forName="image8" refType="w" fact="0.6123"/>
          <dgm:constr type="t" for="ch" forName="image8" refType="h" fact="0.5696"/>
          <dgm:constr type="w" for="ch" forName="image8" refType="w" fact="0.1425"/>
          <dgm:constr type="h" for="ch" forName="image8" refType="h" fact="0.2049"/>
          <dgm:constr type="l" for="ch" forName="text8" refType="w" fact="0.7349"/>
          <dgm:constr type="t" for="ch" forName="text8" refType="h" fact="0.4574"/>
          <dgm:constr type="w" for="ch" forName="text8" refType="w" fact="0.1425"/>
          <dgm:constr type="h" for="ch" forName="text8" refType="h" fact="0.2049"/>
          <dgm:constr type="l" for="ch" forName="imageaccent8" refType="w" fact="0.7367"/>
          <dgm:constr type="t" for="ch" forName="imageaccent8" refType="h" fact="0.6595"/>
          <dgm:constr type="w" for="ch" forName="imageaccent8" refType="w" fact="0.0166"/>
          <dgm:constr type="h" for="ch" forName="imageaccent8" refType="h" fact="0.024"/>
          <dgm:constr type="l" for="ch" forName="textaccent8" refType="w" fact="0.7631"/>
          <dgm:constr type="t" for="ch" forName="textaccent8" refType="h" fact="0.6369"/>
          <dgm:constr type="w" for="ch" forName="textaccent8" refType="w" fact="0.0166"/>
          <dgm:constr type="h" for="ch" forName="textaccent8" refType="h" fact="0.024"/>
          <dgm:constr type="l" for="ch" forName="text9" refType="w" fact="0.7354"/>
          <dgm:constr type="t" for="ch" forName="text9" refType="h" fact="0.0044"/>
          <dgm:constr type="w" for="ch" forName="text9" refType="w" fact="0.1425"/>
          <dgm:constr type="h" for="ch" forName="text9" refType="h" fact="0.2049"/>
          <dgm:constr type="l" for="ch" forName="textaccent9" refType="w" fact="0.8339"/>
          <dgm:constr type="t" for="ch" forName="textaccent9" refType="h" fact="0.1846"/>
          <dgm:constr type="w" for="ch" forName="textaccent9" refType="w" fact="0.0166"/>
          <dgm:constr type="h" for="ch" forName="textaccent9" refType="h" fact="0.024"/>
          <dgm:constr type="l" for="ch" forName="image9" refType="w" fact="0.7354"/>
          <dgm:constr type="t" for="ch" forName="image9" refType="h" fact="0.2306"/>
          <dgm:constr type="w" for="ch" forName="image9" refType="w" fact="0.1425"/>
          <dgm:constr type="h" for="ch" forName="image9" refType="h" fact="0.2049"/>
          <dgm:constr type="l" for="ch" forName="imageaccent9" refType="w" fact="0.8339"/>
          <dgm:constr type="t" for="ch" forName="imageaccent9" refType="h" fact="0.2318"/>
          <dgm:constr type="w" for="ch" forName="imageaccent9" refType="w" fact="0.0166"/>
          <dgm:constr type="h" for="ch" forName="imageaccent9" refType="h" fact="0.024"/>
          <dgm:constr type="l" for="ch" forName="image10" refType="w" fact="0.2446"/>
          <dgm:constr type="t" for="ch" forName="image10" refType="h" fact="0.6805"/>
          <dgm:constr type="w" for="ch" forName="image10" refType="w" fact="0.1425"/>
          <dgm:constr type="h" for="ch" forName="image10" refType="h" fact="0.2049"/>
          <dgm:constr type="l" for="ch" forName="text10" refType="w" fact="0.3672"/>
          <dgm:constr type="t" for="ch" forName="text10" refType="h" fact="0.5683"/>
          <dgm:constr type="w" for="ch" forName="text10" refType="w" fact="0.1425"/>
          <dgm:constr type="h" for="ch" forName="text10" refType="h" fact="0.2049"/>
          <dgm:constr type="l" for="ch" forName="imageaccent10" refType="w" fact="0.369"/>
          <dgm:constr type="t" for="ch" forName="imageaccent10" refType="h" fact="0.7704"/>
          <dgm:constr type="w" for="ch" forName="imageaccent10" refType="w" fact="0.0166"/>
          <dgm:constr type="h" for="ch" forName="imageaccent10" refType="h" fact="0.024"/>
          <dgm:constr type="l" for="ch" forName="textaccent10" refType="w" fact="0.3954"/>
          <dgm:constr type="t" for="ch" forName="textaccent10" refType="h" fact="0.7478"/>
          <dgm:constr type="w" for="ch" forName="textaccent10" refType="w" fact="0.0166"/>
          <dgm:constr type="h" for="ch" forName="textaccent10" refType="h" fact="0.024"/>
          <dgm:constr type="l" for="ch" forName="text11" refType="w" fact="0.612"/>
          <dgm:constr type="t" for="ch" forName="text11" refType="h" fact="0.7951"/>
          <dgm:constr type="w" for="ch" forName="text11" refType="w" fact="0.1425"/>
          <dgm:constr type="h" for="ch" forName="text11" refType="h" fact="0.2049"/>
          <dgm:constr type="l" for="ch" forName="image11" refType="w" fact="0.4894"/>
          <dgm:constr type="t" for="ch" forName="image11" refType="h" fact="0.6816"/>
          <dgm:constr type="w" for="ch" forName="image11" refType="w" fact="0.1425"/>
          <dgm:constr type="h" for="ch" forName="image11" refType="h" fact="0.2049"/>
          <dgm:constr type="l" for="ch" forName="imageaccent11" refType="w" fact="0.5874"/>
          <dgm:constr type="t" for="ch" forName="imageaccent11" refType="h" fact="0.8589"/>
          <dgm:constr type="w" for="ch" forName="imageaccent11" refType="w" fact="0.0166"/>
          <dgm:constr type="h" for="ch" forName="imageaccent11" refType="h" fact="0.024"/>
          <dgm:constr type="l" for="ch" forName="textaccent11" refType="w" fact="0.6154"/>
          <dgm:constr type="t" for="ch" forName="textaccent11" refType="h" fact="0.8863"/>
          <dgm:constr type="w" for="ch" forName="textaccent11" refType="w" fact="0.0166"/>
          <dgm:constr type="h" for="ch" forName="textaccent11" refType="h" fact="0.024"/>
          <dgm:constr type="l" for="ch" forName="text12" refType="w" fact="0.735"/>
          <dgm:constr type="t" for="ch" forName="text12" refType="h" fact="0.684"/>
          <dgm:constr type="w" for="ch" forName="text12" refType="w" fact="0.1425"/>
          <dgm:constr type="h" for="ch" forName="text12" refType="h" fact="0.2049"/>
          <dgm:constr type="l" for="ch" forName="image12" refType="w" fact="0.8575"/>
          <dgm:constr type="t" for="ch" forName="image12" refType="h" fact="0.5718"/>
          <dgm:constr type="w" for="ch" forName="image12" refType="w" fact="0.1425"/>
          <dgm:constr type="h" for="ch" forName="image12" refType="h" fact="0.2049"/>
          <dgm:constr type="l" for="ch" forName="textaccent12" refType="w" fact="0.8594"/>
          <dgm:constr type="t" for="ch" forName="textaccent12" refType="h" fact="0.7739"/>
          <dgm:constr type="w" for="ch" forName="textaccent12" refType="w" fact="0.0166"/>
          <dgm:constr type="h" for="ch" forName="textaccent12" refType="h" fact="0.024"/>
          <dgm:constr type="l" for="ch" forName="imageaccent12" refType="w" fact="0.8858"/>
          <dgm:constr type="t" for="ch" forName="imageaccent12" refType="h" fact="0.7513"/>
          <dgm:constr type="w" for="ch" forName="imageaccent12" refType="w" fact="0.0166"/>
          <dgm:constr type="h" for="ch" forName="imageaccent12" refType="h" fact="0.024"/>
        </dgm:constrLst>
      </dgm:else>
    </dgm:choose>
    <dgm:forEach name="wrapper" axis="self" ptType="parTrans">
      <dgm:forEach name="wrapper2" axis="self" ptType="sibTrans" st="2">
        <dgm:forEach name="textRepeat" axis="self">
          <dgm:layoutNode name="textRepeatNode" styleLbl="alignNode1">
            <dgm:varLst>
              <dgm:chMax val="0"/>
              <dgm:chPref val="0"/>
              <dgm:bulletEnabled val="1"/>
            </dgm:varLst>
            <dgm:alg type="tx"/>
            <dgm:shape xmlns:r="http://schemas.openxmlformats.org/officeDocument/2006/relationships" type="hexagon" r:blip="">
              <dgm:adjLst>
                <dgm:adj idx="1" val="0.25"/>
                <dgm:adj idx="2" val="1.1547"/>
              </dgm:adjLst>
            </dgm:shape>
            <dgm:presOf axis="desOrSelf" ptType="node"/>
            <dgm:constrLst>
              <dgm:constr type="lMarg" refType="primFontSz" fact="0"/>
              <dgm:constr type="rMarg" refType="primFontSz" fact="0"/>
              <dgm:constr type="tMarg" refType="primFontSz" fact="0.1"/>
              <dgm:constr type="bMarg" refType="primFontSz" fact="0.1"/>
            </dgm:constrLst>
            <dgm:ruleLst>
              <dgm:rule type="primFontSz" val="5" fact="NaN" max="NaN"/>
            </dgm:ruleLst>
          </dgm:layoutNode>
        </dgm:forEach>
        <dgm:forEach name="accentRepeat" axis="self">
          <dgm:layoutNode name="accentRepeatNode" styleLbl="solidAlignAcc1">
            <dgm:alg type="sp"/>
            <dgm:shape xmlns:r="http://schemas.openxmlformats.org/officeDocument/2006/relationships" type="hexagon" r:blip="">
              <dgm:adjLst>
                <dgm:adj idx="1" val="0.25"/>
                <dgm:adj idx="2" val="1.1547"/>
              </dgm:adjLst>
            </dgm:shape>
            <dgm:presOf/>
          </dgm:layoutNode>
        </dgm:forEach>
        <dgm:forEach name="imageRepeat" axis="self">
          <dgm:layoutNode name="imageRepeatNode" styleLbl="alignAcc1">
            <dgm:alg type="sp"/>
            <dgm:shape xmlns:r="http://schemas.openxmlformats.org/officeDocument/2006/relationships" type="hexagon" r:blip="" blipPhldr="1">
              <dgm:adjLst>
                <dgm:adj idx="1" val="0.25"/>
                <dgm:adj idx="2" val="1.1547"/>
              </dgm:adjLst>
            </dgm:shape>
            <dgm:presOf axis="self"/>
          </dgm:layoutNode>
        </dgm:forEach>
      </dgm:forEach>
    </dgm:forEach>
    <dgm:forEach name="Name14" axis="ch" ptType="node" cnt="1">
      <dgm:layoutNode name="text1">
        <dgm:alg type="sp"/>
        <dgm:shape xmlns:r="http://schemas.openxmlformats.org/officeDocument/2006/relationships" r:blip="">
          <dgm:adjLst/>
        </dgm:shape>
        <dgm:presOf/>
        <dgm:constrLst/>
        <dgm:forEach name="Name15" ref="textRepeat"/>
      </dgm:layoutNode>
      <dgm:layoutNode name="textaccent1">
        <dgm:alg type="sp"/>
        <dgm:shape xmlns:r="http://schemas.openxmlformats.org/officeDocument/2006/relationships" r:blip="">
          <dgm:adjLst/>
        </dgm:shape>
        <dgm:presOf/>
        <dgm:constrLst/>
        <dgm:forEach name="Name16" ref="accentRepeat"/>
      </dgm:layoutNode>
    </dgm:forEach>
    <dgm:forEach name="Name17" axis="ch" ptType="sibTrans" hideLastTrans="0" cnt="1">
      <dgm:layoutNode name="image1">
        <dgm:alg type="sp"/>
        <dgm:shape xmlns:r="http://schemas.openxmlformats.org/officeDocument/2006/relationships" r:blip="">
          <dgm:adjLst/>
        </dgm:shape>
        <dgm:presOf/>
        <dgm:constrLst/>
        <dgm:forEach name="Name18" ref="imageRepeat"/>
      </dgm:layoutNode>
      <dgm:layoutNode name="imageaccent1">
        <dgm:alg type="sp"/>
        <dgm:shape xmlns:r="http://schemas.openxmlformats.org/officeDocument/2006/relationships" r:blip="">
          <dgm:adjLst/>
        </dgm:shape>
        <dgm:presOf/>
        <dgm:constrLst/>
        <dgm:forEach name="Name19" ref="accentRepeat"/>
      </dgm:layoutNode>
    </dgm:forEach>
    <dgm:forEach name="Name20" axis="ch" ptType="node" st="2" cnt="1">
      <dgm:layoutNode name="text2">
        <dgm:alg type="sp"/>
        <dgm:shape xmlns:r="http://schemas.openxmlformats.org/officeDocument/2006/relationships" r:blip="">
          <dgm:adjLst/>
        </dgm:shape>
        <dgm:presOf/>
        <dgm:constrLst/>
        <dgm:forEach name="Name21" ref="textRepeat"/>
      </dgm:layoutNode>
      <dgm:layoutNode name="textaccent2">
        <dgm:alg type="sp"/>
        <dgm:shape xmlns:r="http://schemas.openxmlformats.org/officeDocument/2006/relationships" r:blip="">
          <dgm:adjLst/>
        </dgm:shape>
        <dgm:presOf/>
        <dgm:constrLst/>
        <dgm:forEach name="Name22" ref="accentRepeat"/>
      </dgm:layoutNode>
    </dgm:forEach>
    <dgm:forEach name="Name23" axis="ch" ptType="sibTrans" hideLastTrans="0" st="2" cnt="1">
      <dgm:layoutNode name="image2">
        <dgm:alg type="sp"/>
        <dgm:shape xmlns:r="http://schemas.openxmlformats.org/officeDocument/2006/relationships" r:blip="">
          <dgm:adjLst/>
        </dgm:shape>
        <dgm:presOf/>
        <dgm:constrLst/>
        <dgm:forEach name="Name24" ref="imageRepeat"/>
      </dgm:layoutNode>
      <dgm:layoutNode name="imageaccent2">
        <dgm:alg type="sp"/>
        <dgm:shape xmlns:r="http://schemas.openxmlformats.org/officeDocument/2006/relationships" r:blip="">
          <dgm:adjLst/>
        </dgm:shape>
        <dgm:presOf/>
        <dgm:constrLst/>
        <dgm:forEach name="Name25" ref="accentRepeat"/>
      </dgm:layoutNode>
    </dgm:forEach>
    <dgm:forEach name="Name26" axis="ch" ptType="node" st="3" cnt="1">
      <dgm:layoutNode name="text3">
        <dgm:alg type="sp"/>
        <dgm:shape xmlns:r="http://schemas.openxmlformats.org/officeDocument/2006/relationships" r:blip="">
          <dgm:adjLst/>
        </dgm:shape>
        <dgm:presOf/>
        <dgm:constrLst/>
        <dgm:forEach name="Name27" ref="textRepeat"/>
      </dgm:layoutNode>
      <dgm:layoutNode name="textaccent3">
        <dgm:alg type="sp"/>
        <dgm:shape xmlns:r="http://schemas.openxmlformats.org/officeDocument/2006/relationships" r:blip="">
          <dgm:adjLst/>
        </dgm:shape>
        <dgm:presOf/>
        <dgm:constrLst/>
        <dgm:forEach name="Name28" ref="accentRepeat"/>
      </dgm:layoutNode>
    </dgm:forEach>
    <dgm:forEach name="Name29" axis="ch" ptType="sibTrans" hideLastTrans="0" st="3" cnt="1">
      <dgm:layoutNode name="image3">
        <dgm:alg type="sp"/>
        <dgm:shape xmlns:r="http://schemas.openxmlformats.org/officeDocument/2006/relationships" r:blip="">
          <dgm:adjLst/>
        </dgm:shape>
        <dgm:presOf/>
        <dgm:constrLst/>
        <dgm:forEach name="Name30" ref="imageRepeat"/>
      </dgm:layoutNode>
      <dgm:layoutNode name="imageaccent3">
        <dgm:alg type="sp"/>
        <dgm:shape xmlns:r="http://schemas.openxmlformats.org/officeDocument/2006/relationships" r:blip="">
          <dgm:adjLst/>
        </dgm:shape>
        <dgm:presOf/>
        <dgm:constrLst/>
        <dgm:forEach name="Name31" ref="accentRepeat"/>
      </dgm:layoutNode>
    </dgm:forEach>
    <dgm:forEach name="Name32" axis="ch" ptType="node" st="4" cnt="1">
      <dgm:layoutNode name="text4">
        <dgm:alg type="sp"/>
        <dgm:shape xmlns:r="http://schemas.openxmlformats.org/officeDocument/2006/relationships" r:blip="">
          <dgm:adjLst/>
        </dgm:shape>
        <dgm:presOf/>
        <dgm:constrLst/>
        <dgm:forEach name="Name33" ref="textRepeat"/>
      </dgm:layoutNode>
      <dgm:layoutNode name="textaccent4">
        <dgm:alg type="sp"/>
        <dgm:shape xmlns:r="http://schemas.openxmlformats.org/officeDocument/2006/relationships" r:blip="">
          <dgm:adjLst/>
        </dgm:shape>
        <dgm:presOf/>
        <dgm:constrLst/>
        <dgm:forEach name="Name34" ref="accentRepeat"/>
      </dgm:layoutNode>
    </dgm:forEach>
    <dgm:forEach name="Name35" axis="ch" ptType="sibTrans" hideLastTrans="0" st="4" cnt="1">
      <dgm:layoutNode name="image4">
        <dgm:alg type="sp"/>
        <dgm:shape xmlns:r="http://schemas.openxmlformats.org/officeDocument/2006/relationships" r:blip="">
          <dgm:adjLst/>
        </dgm:shape>
        <dgm:presOf/>
        <dgm:constrLst/>
        <dgm:forEach name="Name36" ref="imageRepeat"/>
      </dgm:layoutNode>
      <dgm:layoutNode name="imageaccent4">
        <dgm:alg type="sp"/>
        <dgm:shape xmlns:r="http://schemas.openxmlformats.org/officeDocument/2006/relationships" r:blip="">
          <dgm:adjLst/>
        </dgm:shape>
        <dgm:presOf/>
        <dgm:constrLst/>
        <dgm:forEach name="Name37" ref="accentRepeat"/>
      </dgm:layoutNode>
    </dgm:forEach>
    <dgm:forEach name="Name38" axis="ch" ptType="node" st="5" cnt="1">
      <dgm:layoutNode name="text5">
        <dgm:alg type="sp"/>
        <dgm:shape xmlns:r="http://schemas.openxmlformats.org/officeDocument/2006/relationships" r:blip="">
          <dgm:adjLst/>
        </dgm:shape>
        <dgm:presOf/>
        <dgm:constrLst/>
        <dgm:forEach name="Name39" ref="textRepeat"/>
      </dgm:layoutNode>
      <dgm:layoutNode name="textaccent5">
        <dgm:alg type="sp"/>
        <dgm:shape xmlns:r="http://schemas.openxmlformats.org/officeDocument/2006/relationships" r:blip="">
          <dgm:adjLst/>
        </dgm:shape>
        <dgm:presOf/>
        <dgm:constrLst/>
        <dgm:forEach name="Name40" ref="accentRepeat"/>
      </dgm:layoutNode>
    </dgm:forEach>
    <dgm:forEach name="Name41" axis="ch" ptType="sibTrans" hideLastTrans="0" st="5" cnt="1">
      <dgm:layoutNode name="image5">
        <dgm:alg type="sp"/>
        <dgm:shape xmlns:r="http://schemas.openxmlformats.org/officeDocument/2006/relationships" r:blip="">
          <dgm:adjLst/>
        </dgm:shape>
        <dgm:presOf/>
        <dgm:constrLst/>
        <dgm:forEach name="Name42" ref="imageRepeat"/>
      </dgm:layoutNode>
      <dgm:layoutNode name="imageaccent5">
        <dgm:alg type="sp"/>
        <dgm:shape xmlns:r="http://schemas.openxmlformats.org/officeDocument/2006/relationships" r:blip="">
          <dgm:adjLst/>
        </dgm:shape>
        <dgm:presOf/>
        <dgm:constrLst/>
        <dgm:forEach name="Name43" ref="accentRepeat"/>
      </dgm:layoutNode>
    </dgm:forEach>
    <dgm:forEach name="Name44" axis="ch" ptType="node" st="6" cnt="1">
      <dgm:layoutNode name="text6">
        <dgm:alg type="sp"/>
        <dgm:shape xmlns:r="http://schemas.openxmlformats.org/officeDocument/2006/relationships" r:blip="">
          <dgm:adjLst/>
        </dgm:shape>
        <dgm:presOf/>
        <dgm:constrLst/>
        <dgm:forEach name="Name45" ref="textRepeat"/>
      </dgm:layoutNode>
      <dgm:layoutNode name="textaccent6">
        <dgm:alg type="sp"/>
        <dgm:shape xmlns:r="http://schemas.openxmlformats.org/officeDocument/2006/relationships" r:blip="">
          <dgm:adjLst/>
        </dgm:shape>
        <dgm:presOf/>
        <dgm:constrLst/>
        <dgm:forEach name="Name46" ref="accentRepeat"/>
      </dgm:layoutNode>
    </dgm:forEach>
    <dgm:forEach name="Name47" axis="ch" ptType="sibTrans" hideLastTrans="0" st="6" cnt="1">
      <dgm:layoutNode name="image6">
        <dgm:alg type="sp"/>
        <dgm:shape xmlns:r="http://schemas.openxmlformats.org/officeDocument/2006/relationships" r:blip="">
          <dgm:adjLst/>
        </dgm:shape>
        <dgm:presOf/>
        <dgm:constrLst/>
        <dgm:forEach name="Name48" ref="imageRepeat"/>
      </dgm:layoutNode>
      <dgm:layoutNode name="imageaccent6">
        <dgm:alg type="sp"/>
        <dgm:shape xmlns:r="http://schemas.openxmlformats.org/officeDocument/2006/relationships" r:blip="">
          <dgm:adjLst/>
        </dgm:shape>
        <dgm:presOf/>
        <dgm:constrLst/>
        <dgm:forEach name="Name49" ref="accentRepeat"/>
      </dgm:layoutNode>
    </dgm:forEach>
    <dgm:forEach name="Name50" axis="ch" ptType="node" st="7" cnt="1">
      <dgm:layoutNode name="text7">
        <dgm:alg type="sp"/>
        <dgm:shape xmlns:r="http://schemas.openxmlformats.org/officeDocument/2006/relationships" r:blip="">
          <dgm:adjLst/>
        </dgm:shape>
        <dgm:presOf/>
        <dgm:constrLst/>
        <dgm:forEach name="Name51" ref="textRepeat"/>
      </dgm:layoutNode>
      <dgm:layoutNode name="textaccent7">
        <dgm:alg type="sp"/>
        <dgm:shape xmlns:r="http://schemas.openxmlformats.org/officeDocument/2006/relationships" r:blip="">
          <dgm:adjLst/>
        </dgm:shape>
        <dgm:presOf/>
        <dgm:constrLst/>
        <dgm:forEach name="Name52" ref="accentRepeat"/>
      </dgm:layoutNode>
    </dgm:forEach>
    <dgm:forEach name="Name53" axis="ch" ptType="sibTrans" hideLastTrans="0" st="7" cnt="1">
      <dgm:layoutNode name="image7">
        <dgm:alg type="sp"/>
        <dgm:shape xmlns:r="http://schemas.openxmlformats.org/officeDocument/2006/relationships" r:blip="">
          <dgm:adjLst/>
        </dgm:shape>
        <dgm:presOf/>
        <dgm:constrLst/>
        <dgm:forEach name="Name54" ref="imageRepeat"/>
      </dgm:layoutNode>
      <dgm:layoutNode name="imageaccent7">
        <dgm:alg type="sp"/>
        <dgm:shape xmlns:r="http://schemas.openxmlformats.org/officeDocument/2006/relationships" r:blip="">
          <dgm:adjLst/>
        </dgm:shape>
        <dgm:presOf/>
        <dgm:constrLst/>
        <dgm:forEach name="Name55" ref="accentRepeat"/>
      </dgm:layoutNode>
    </dgm:forEach>
    <dgm:forEach name="Name56" axis="ch" ptType="node" st="8" cnt="1">
      <dgm:layoutNode name="text8">
        <dgm:alg type="sp"/>
        <dgm:shape xmlns:r="http://schemas.openxmlformats.org/officeDocument/2006/relationships" r:blip="">
          <dgm:adjLst/>
        </dgm:shape>
        <dgm:presOf/>
        <dgm:constrLst/>
        <dgm:forEach name="Name57" ref="textRepeat"/>
      </dgm:layoutNode>
      <dgm:layoutNode name="textaccent8">
        <dgm:alg type="sp"/>
        <dgm:shape xmlns:r="http://schemas.openxmlformats.org/officeDocument/2006/relationships" r:blip="">
          <dgm:adjLst/>
        </dgm:shape>
        <dgm:presOf/>
        <dgm:constrLst/>
        <dgm:forEach name="Name58" ref="accentRepeat"/>
      </dgm:layoutNode>
    </dgm:forEach>
    <dgm:forEach name="Name59" axis="ch" ptType="sibTrans" hideLastTrans="0" st="8" cnt="1">
      <dgm:layoutNode name="image8">
        <dgm:alg type="sp"/>
        <dgm:shape xmlns:r="http://schemas.openxmlformats.org/officeDocument/2006/relationships" r:blip="">
          <dgm:adjLst/>
        </dgm:shape>
        <dgm:presOf/>
        <dgm:constrLst/>
        <dgm:forEach name="Name60" ref="imageRepeat"/>
      </dgm:layoutNode>
      <dgm:layoutNode name="imageaccent8">
        <dgm:alg type="sp"/>
        <dgm:shape xmlns:r="http://schemas.openxmlformats.org/officeDocument/2006/relationships" r:blip="">
          <dgm:adjLst/>
        </dgm:shape>
        <dgm:presOf/>
        <dgm:constrLst/>
        <dgm:forEach name="Name61" ref="accentRepeat"/>
      </dgm:layoutNode>
    </dgm:forEach>
    <dgm:forEach name="Name62" axis="ch" ptType="node" st="9" cnt="1">
      <dgm:layoutNode name="text9">
        <dgm:alg type="sp"/>
        <dgm:shape xmlns:r="http://schemas.openxmlformats.org/officeDocument/2006/relationships" r:blip="">
          <dgm:adjLst/>
        </dgm:shape>
        <dgm:presOf/>
        <dgm:constrLst/>
        <dgm:forEach name="Name63" ref="textRepeat"/>
      </dgm:layoutNode>
      <dgm:layoutNode name="textaccent9">
        <dgm:alg type="sp"/>
        <dgm:shape xmlns:r="http://schemas.openxmlformats.org/officeDocument/2006/relationships" r:blip="">
          <dgm:adjLst/>
        </dgm:shape>
        <dgm:presOf/>
        <dgm:constrLst/>
        <dgm:forEach name="Name64" ref="accentRepeat"/>
      </dgm:layoutNode>
    </dgm:forEach>
    <dgm:forEach name="Name65" axis="ch" ptType="sibTrans" hideLastTrans="0" st="9" cnt="1">
      <dgm:layoutNode name="image9">
        <dgm:alg type="sp"/>
        <dgm:shape xmlns:r="http://schemas.openxmlformats.org/officeDocument/2006/relationships" r:blip="">
          <dgm:adjLst/>
        </dgm:shape>
        <dgm:presOf/>
        <dgm:constrLst/>
        <dgm:forEach name="Name66" ref="imageRepeat"/>
      </dgm:layoutNode>
      <dgm:layoutNode name="imageaccent9">
        <dgm:alg type="sp"/>
        <dgm:shape xmlns:r="http://schemas.openxmlformats.org/officeDocument/2006/relationships" r:blip="">
          <dgm:adjLst/>
        </dgm:shape>
        <dgm:presOf/>
        <dgm:constrLst/>
        <dgm:forEach name="Name67" ref="accentRepeat"/>
      </dgm:layoutNode>
    </dgm:forEach>
    <dgm:forEach name="Name68" axis="ch" ptType="node" st="10" cnt="1">
      <dgm:layoutNode name="text10">
        <dgm:alg type="sp"/>
        <dgm:shape xmlns:r="http://schemas.openxmlformats.org/officeDocument/2006/relationships" r:blip="">
          <dgm:adjLst/>
        </dgm:shape>
        <dgm:presOf/>
        <dgm:constrLst/>
        <dgm:forEach name="Name69" ref="textRepeat"/>
      </dgm:layoutNode>
      <dgm:layoutNode name="textaccent10">
        <dgm:alg type="sp"/>
        <dgm:shape xmlns:r="http://schemas.openxmlformats.org/officeDocument/2006/relationships" r:blip="">
          <dgm:adjLst/>
        </dgm:shape>
        <dgm:presOf/>
        <dgm:constrLst/>
        <dgm:forEach name="Name70" ref="accentRepeat"/>
      </dgm:layoutNode>
    </dgm:forEach>
    <dgm:forEach name="Name71" axis="ch" ptType="sibTrans" hideLastTrans="0" st="10" cnt="1">
      <dgm:layoutNode name="image10">
        <dgm:alg type="sp"/>
        <dgm:shape xmlns:r="http://schemas.openxmlformats.org/officeDocument/2006/relationships" r:blip="">
          <dgm:adjLst/>
        </dgm:shape>
        <dgm:presOf/>
        <dgm:constrLst/>
        <dgm:forEach name="Name72" ref="imageRepeat"/>
      </dgm:layoutNode>
      <dgm:layoutNode name="imageaccent10">
        <dgm:alg type="sp"/>
        <dgm:shape xmlns:r="http://schemas.openxmlformats.org/officeDocument/2006/relationships" r:blip="">
          <dgm:adjLst/>
        </dgm:shape>
        <dgm:presOf/>
        <dgm:constrLst/>
        <dgm:forEach name="Name73" ref="accentRepeat"/>
      </dgm:layoutNode>
    </dgm:forEach>
    <dgm:forEach name="Name74" axis="ch" ptType="node" st="11" cnt="1">
      <dgm:layoutNode name="text11">
        <dgm:alg type="sp"/>
        <dgm:shape xmlns:r="http://schemas.openxmlformats.org/officeDocument/2006/relationships" r:blip="">
          <dgm:adjLst/>
        </dgm:shape>
        <dgm:presOf/>
        <dgm:constrLst/>
        <dgm:forEach name="Name75" ref="textRepeat"/>
      </dgm:layoutNode>
      <dgm:layoutNode name="textaccent1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</dgm:forEach>
    <dgm:forEach name="Name77" axis="ch" ptType="sibTrans" hideLastTrans="0" st="11" cnt="1">
      <dgm:layoutNode name="image11">
        <dgm:alg type="sp"/>
        <dgm:shape xmlns:r="http://schemas.openxmlformats.org/officeDocument/2006/relationships" r:blip="">
          <dgm:adjLst/>
        </dgm:shape>
        <dgm:presOf/>
        <dgm:constrLst/>
        <dgm:forEach name="Name78" ref="imageRepeat"/>
      </dgm:layoutNode>
      <dgm:layoutNode name="imageaccent11">
        <dgm:alg type="sp"/>
        <dgm:shape xmlns:r="http://schemas.openxmlformats.org/officeDocument/2006/relationships" r:blip="">
          <dgm:adjLst/>
        </dgm:shape>
        <dgm:presOf/>
        <dgm:constrLst/>
        <dgm:forEach name="Name79" ref="accentRepeat"/>
      </dgm:layoutNode>
    </dgm:forEach>
    <dgm:forEach name="Name80" axis="ch" ptType="node" st="12" cnt="1">
      <dgm:layoutNode name="text12">
        <dgm:alg type="sp"/>
        <dgm:shape xmlns:r="http://schemas.openxmlformats.org/officeDocument/2006/relationships" r:blip="">
          <dgm:adjLst/>
        </dgm:shape>
        <dgm:presOf/>
        <dgm:constrLst/>
        <dgm:forEach name="Name81" ref="textRepeat"/>
      </dgm:layoutNode>
      <dgm:layoutNode name="textaccent12">
        <dgm:alg type="sp"/>
        <dgm:shape xmlns:r="http://schemas.openxmlformats.org/officeDocument/2006/relationships" r:blip="">
          <dgm:adjLst/>
        </dgm:shape>
        <dgm:presOf/>
        <dgm:constrLst/>
        <dgm:forEach name="Name82" ref="accentRepeat"/>
      </dgm:layoutNode>
    </dgm:forEach>
    <dgm:forEach name="Name83" axis="ch" ptType="sibTrans" hideLastTrans="0" st="12" cnt="1">
      <dgm:layoutNode name="image12">
        <dgm:alg type="sp"/>
        <dgm:shape xmlns:r="http://schemas.openxmlformats.org/officeDocument/2006/relationships" r:blip="">
          <dgm:adjLst/>
        </dgm:shape>
        <dgm:presOf/>
        <dgm:constrLst/>
        <dgm:forEach name="Name84" ref="imageRepeat"/>
      </dgm:layoutNode>
      <dgm:layoutNode name="imageaccent12">
        <dgm:alg type="sp"/>
        <dgm:shape xmlns:r="http://schemas.openxmlformats.org/officeDocument/2006/relationships" r:blip="">
          <dgm:adjLst/>
        </dgm:shape>
        <dgm:presOf/>
        <dgm:constrLst/>
        <dgm:forEach name="Name85" ref="accentRepeat"/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4.jpg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5897</cdr:x>
      <cdr:y>0</cdr:y>
    </cdr:from>
    <cdr:to>
      <cdr:x>1</cdr:x>
      <cdr:y>0.20528</cdr:y>
    </cdr:to>
    <cdr:pic>
      <cdr:nvPicPr>
        <cdr:cNvPr id="2" name="Image 1">
          <a:extLst xmlns:a="http://schemas.openxmlformats.org/drawingml/2006/main">
            <a:ext uri="{FF2B5EF4-FFF2-40B4-BE49-F238E27FC236}">
              <a16:creationId xmlns:a16="http://schemas.microsoft.com/office/drawing/2014/main" id="{D9DFB0BF-9CCD-4050-831C-033BCA5ABAAC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>
          <a:extLst>
            <a:ext uri="{28A0092B-C50C-407E-A947-70E740481C1C}">
              <a14:useLocalDpi xmlns:a14="http://schemas.microsoft.com/office/drawing/2010/main" val="0"/>
            </a:ext>
          </a:extLst>
        </a:blip>
        <a:stretch xmlns:a="http://schemas.openxmlformats.org/drawingml/2006/main">
          <a:fillRect/>
        </a:stretch>
      </cdr:blipFill>
      <cdr:spPr>
        <a:xfrm xmlns:a="http://schemas.openxmlformats.org/drawingml/2006/main">
          <a:off x="7220532" y="0"/>
          <a:ext cx="1185531" cy="1185531"/>
        </a:xfrm>
        <a:prstGeom xmlns:a="http://schemas.openxmlformats.org/drawingml/2006/main" prst="rect">
          <a:avLst/>
        </a:prstGeom>
      </cdr:spPr>
    </cdr:pic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9202" cy="512304"/>
          </a:xfrm>
          <a:prstGeom prst="rect">
            <a:avLst/>
          </a:prstGeom>
        </p:spPr>
        <p:txBody>
          <a:bodyPr vert="horz" lIns="94796" tIns="47398" rIns="94796" bIns="47398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4023203" y="0"/>
            <a:ext cx="3079202" cy="512304"/>
          </a:xfrm>
          <a:prstGeom prst="rect">
            <a:avLst/>
          </a:prstGeom>
        </p:spPr>
        <p:txBody>
          <a:bodyPr vert="horz" wrap="square" lIns="94796" tIns="47398" rIns="94796" bIns="47398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</a:defRPr>
            </a:lvl1pPr>
          </a:lstStyle>
          <a:p>
            <a:fld id="{76BA053A-33DE-1A41-8644-094BC57997AE}" type="datetime1">
              <a:rPr lang="fr-FR"/>
              <a:pPr/>
              <a:t>23/10/2021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720673"/>
            <a:ext cx="3079202" cy="512303"/>
          </a:xfrm>
          <a:prstGeom prst="rect">
            <a:avLst/>
          </a:prstGeom>
        </p:spPr>
        <p:txBody>
          <a:bodyPr vert="horz" lIns="94796" tIns="47398" rIns="94796" bIns="47398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4023203" y="9720673"/>
            <a:ext cx="3079202" cy="512303"/>
          </a:xfrm>
          <a:prstGeom prst="rect">
            <a:avLst/>
          </a:prstGeom>
        </p:spPr>
        <p:txBody>
          <a:bodyPr vert="horz" wrap="square" lIns="94796" tIns="47398" rIns="94796" bIns="47398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</a:defRPr>
            </a:lvl1pPr>
          </a:lstStyle>
          <a:p>
            <a:fld id="{D57BE7FE-E4A3-0A4D-9492-11C4CDC0319A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0234198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9202" cy="512304"/>
          </a:xfrm>
          <a:prstGeom prst="rect">
            <a:avLst/>
          </a:prstGeom>
        </p:spPr>
        <p:txBody>
          <a:bodyPr vert="horz" lIns="94796" tIns="47398" rIns="94796" bIns="47398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23203" y="0"/>
            <a:ext cx="3079202" cy="512304"/>
          </a:xfrm>
          <a:prstGeom prst="rect">
            <a:avLst/>
          </a:prstGeom>
        </p:spPr>
        <p:txBody>
          <a:bodyPr vert="horz" wrap="square" lIns="94796" tIns="47398" rIns="94796" bIns="47398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</a:defRPr>
            </a:lvl1pPr>
          </a:lstStyle>
          <a:p>
            <a:fld id="{35A36969-D6F7-F94C-8D5E-FCC412260ED5}" type="datetime1">
              <a:rPr lang="fr-FR"/>
              <a:pPr/>
              <a:t>23/10/2021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93775" y="768350"/>
            <a:ext cx="5116513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96" tIns="47398" rIns="94796" bIns="47398" rtlCol="0" anchor="ctr"/>
          <a:lstStyle/>
          <a:p>
            <a:pPr lvl="0"/>
            <a:endParaRPr lang="fr-FR" noProof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10075" y="4861155"/>
            <a:ext cx="5683914" cy="4605821"/>
          </a:xfrm>
          <a:prstGeom prst="rect">
            <a:avLst/>
          </a:prstGeom>
        </p:spPr>
        <p:txBody>
          <a:bodyPr vert="horz" lIns="94796" tIns="47398" rIns="94796" bIns="47398" rtlCol="0">
            <a:normAutofit/>
          </a:bodyPr>
          <a:lstStyle/>
          <a:p>
            <a:pPr lvl="0"/>
            <a:r>
              <a:rPr lang="fr-FR" noProof="0"/>
              <a:t>Cliquez pour 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720673"/>
            <a:ext cx="3079202" cy="512303"/>
          </a:xfrm>
          <a:prstGeom prst="rect">
            <a:avLst/>
          </a:prstGeom>
        </p:spPr>
        <p:txBody>
          <a:bodyPr vert="horz" lIns="94796" tIns="47398" rIns="94796" bIns="47398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23203" y="9720673"/>
            <a:ext cx="3079202" cy="512303"/>
          </a:xfrm>
          <a:prstGeom prst="rect">
            <a:avLst/>
          </a:prstGeom>
        </p:spPr>
        <p:txBody>
          <a:bodyPr vert="horz" wrap="square" lIns="94796" tIns="47398" rIns="94796" bIns="47398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</a:defRPr>
            </a:lvl1pPr>
          </a:lstStyle>
          <a:p>
            <a:fld id="{35A53EB7-FBAD-6F4B-9076-286EBF24A43D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7581662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ＭＳ Ｐゴシック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de déb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6237288"/>
            <a:ext cx="9144000" cy="6207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1800"/>
          </a:p>
        </p:txBody>
      </p:sp>
      <p:pic>
        <p:nvPicPr>
          <p:cNvPr id="6" name="Imag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8325" y="0"/>
            <a:ext cx="2879725" cy="1214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755576" y="1628800"/>
            <a:ext cx="7772400" cy="10001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r">
              <a:defRPr sz="2800" b="1" cap="all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Cliquez et modifiez le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2127176" y="2780928"/>
            <a:ext cx="6400800" cy="107157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buNone/>
              <a:defRPr sz="2800">
                <a:solidFill>
                  <a:srgbClr val="F18B2E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Cliquez pour modifier le style des sous-titres du masque</a:t>
            </a:r>
            <a:endParaRPr lang="fr-FR" dirty="0"/>
          </a:p>
        </p:txBody>
      </p:sp>
      <p:sp>
        <p:nvSpPr>
          <p:cNvPr id="7" name="Espace réservé de la date 7"/>
          <p:cNvSpPr>
            <a:spLocks noGrp="1"/>
          </p:cNvSpPr>
          <p:nvPr>
            <p:ph type="dt" sz="half" idx="10"/>
          </p:nvPr>
        </p:nvSpPr>
        <p:spPr>
          <a:xfrm>
            <a:off x="457200" y="6021388"/>
            <a:ext cx="2133600" cy="365125"/>
          </a:xfrm>
        </p:spPr>
        <p:txBody>
          <a:bodyPr/>
          <a:lstStyle>
            <a:lvl1pPr>
              <a:defRPr sz="1800">
                <a:solidFill>
                  <a:srgbClr val="F18B2E"/>
                </a:solidFill>
                <a:cs typeface="Arial" charset="0"/>
              </a:defRPr>
            </a:lvl1pPr>
          </a:lstStyle>
          <a:p>
            <a:fld id="{3B3F0EE5-B9A6-4707-9876-B80B38EB6C3A}" type="datetime1">
              <a:rPr lang="fr-FR" smtClean="0"/>
              <a:pPr/>
              <a:t>23/10/20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833268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7264400" y="307975"/>
            <a:ext cx="288925" cy="600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7705725" y="307975"/>
            <a:ext cx="288925" cy="600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8CD7A03-5B65-994C-83CB-9A48F4F7C8EC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08270C17-A942-428D-A484-6D4963496A06}" type="datetime1">
              <a:rPr lang="fr-FR" smtClean="0"/>
              <a:pPr/>
              <a:t>23/10/2021</a:t>
            </a:fld>
            <a:endParaRPr lang="fr-FR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12308994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A756376-2475-D747-ACF9-EA860B353B8D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8" name="Espace réservé de la date 7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6E19EB8C-A8F2-49EC-A8D6-171D4060586F}" type="datetime1">
              <a:rPr lang="fr-FR" smtClean="0"/>
              <a:pPr/>
              <a:t>23/10/2021</a:t>
            </a:fld>
            <a:endParaRPr lang="fr-FR"/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13058217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41BD3B8-1126-FE4F-BE67-0BA2363E9365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3EC7B6EE-D6B4-4A8F-A1A8-F15DCB028669}" type="datetime1">
              <a:rPr lang="fr-FR" smtClean="0"/>
              <a:pPr/>
              <a:t>23/10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6336896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EB72494-7E8D-764A-A7F3-2C623CB559DF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D49CE20E-3BA7-4D5E-B8EB-1B6BDFB6F6B9}" type="datetime1">
              <a:rPr lang="fr-FR" smtClean="0"/>
              <a:pPr/>
              <a:t>23/10/2021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21924259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805A5F7-49BB-DE43-94AA-E6246ECB3A40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31EBA55B-4AD3-4EB4-A062-8D7E33EB5E45}" type="datetime1">
              <a:rPr lang="fr-FR" smtClean="0"/>
              <a:pPr/>
              <a:t>23/10/2021</a:t>
            </a:fld>
            <a:endParaRPr lang="fr-FR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18897777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3" name="Espace réservé pour une image 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DC01B0D-47AD-C94F-AF57-90F3E31F95B9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E027B083-E429-456A-8291-90538FEB539E}" type="datetime1">
              <a:rPr lang="fr-FR" smtClean="0"/>
              <a:pPr/>
              <a:t>23/10/2021</a:t>
            </a:fld>
            <a:endParaRPr lang="fr-FR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40010295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07C5AB0-3378-9D46-9B4B-128089A4BD7D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F91642AF-71A7-4F53-99D7-0D4273FC5534}" type="datetime1">
              <a:rPr lang="fr-FR" smtClean="0"/>
              <a:pPr/>
              <a:t>23/10/2021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20841837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48450" y="307975"/>
            <a:ext cx="1843088" cy="4849813"/>
          </a:xfrm>
        </p:spPr>
        <p:txBody>
          <a:bodyPr vert="eaVert"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1116013" y="307975"/>
            <a:ext cx="5380037" cy="4849813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24A30A7-88FD-E242-8EA5-929F059010C6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6E883A85-CC94-485C-B6A3-125F21404FAF}" type="datetime1">
              <a:rPr lang="fr-FR" smtClean="0"/>
              <a:pPr/>
              <a:t>23/10/2021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30187217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65175"/>
            <a:ext cx="1003300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95536" y="1714488"/>
            <a:ext cx="8424936" cy="3802744"/>
          </a:xfrm>
          <a:prstGeom prst="rect">
            <a:avLst/>
          </a:prstGeom>
        </p:spPr>
        <p:txBody>
          <a:bodyPr/>
          <a:lstStyle>
            <a:lvl1pPr marL="0" indent="-414000">
              <a:spcBef>
                <a:spcPts val="600"/>
              </a:spcBef>
              <a:buClr>
                <a:srgbClr val="F18B2E"/>
              </a:buClr>
              <a:buSzPct val="110000"/>
              <a:buFontTx/>
              <a:buBlip>
                <a:blip r:embed="rId3"/>
              </a:buBlip>
              <a:defRPr sz="1600" b="1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  <a:lvl2pPr marL="432000" indent="-180000">
              <a:buClr>
                <a:srgbClr val="463436"/>
              </a:buClr>
              <a:buSzPct val="100000"/>
              <a:buFont typeface="Lucida Grande"/>
              <a:buChar char="‣"/>
              <a:defRPr sz="1600" b="1" baseline="0">
                <a:solidFill>
                  <a:srgbClr val="F18B2E"/>
                </a:solidFill>
                <a:latin typeface="Arial" pitchFamily="34" charset="0"/>
                <a:cs typeface="Arial" pitchFamily="34" charset="0"/>
              </a:defRPr>
            </a:lvl2pPr>
            <a:lvl3pPr marL="604800" indent="-180000">
              <a:buFont typeface="Arial" pitchFamily="34" charset="0"/>
              <a:buChar char="•"/>
              <a:defRPr sz="1400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3pPr>
            <a:lvl4pPr marL="900000" indent="-180000">
              <a:defRPr sz="120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5pPr>
            <a:lvl6pPr>
              <a:buFont typeface="Courier New" pitchFamily="49" charset="0"/>
              <a:buChar char="o"/>
              <a:defRPr sz="100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6pPr>
            <a:lvl7pPr>
              <a:buFont typeface="Wingdings" pitchFamily="2" charset="2"/>
              <a:buChar char="ü"/>
              <a:defRPr sz="100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7pPr>
            <a:lvl8pPr>
              <a:buFont typeface="Wingdings" pitchFamily="2" charset="2"/>
              <a:buChar char="§"/>
              <a:defRPr sz="1000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8pPr>
            <a:lvl9pPr>
              <a:buFont typeface="Arial" pitchFamily="34" charset="0"/>
              <a:buChar char="−"/>
              <a:defRPr sz="1000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6" name="Titre 1"/>
          <p:cNvSpPr>
            <a:spLocks noGrp="1"/>
          </p:cNvSpPr>
          <p:nvPr>
            <p:ph type="title"/>
          </p:nvPr>
        </p:nvSpPr>
        <p:spPr>
          <a:xfrm>
            <a:off x="342928" y="260648"/>
            <a:ext cx="7800972" cy="785794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200" b="1" cap="all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Cliquez et modifiez le titre</a:t>
            </a:r>
            <a:endParaRPr lang="fr-FR" dirty="0"/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F1F3963A-43DD-EB43-A4D9-AE3239085684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8" name="Espace réservé de la date 3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248CAAC4-81C2-42EB-B84E-D8968D8DDECD}" type="datetime1">
              <a:rPr lang="fr-FR" smtClean="0"/>
              <a:pPr/>
              <a:t>23/10/2021</a:t>
            </a:fld>
            <a:endParaRPr lang="fr-FR"/>
          </a:p>
        </p:txBody>
      </p:sp>
      <p:sp>
        <p:nvSpPr>
          <p:cNvPr id="9" name="Espace réservé du pied de page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6946970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de titre de 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025" y="549275"/>
            <a:ext cx="1649413" cy="695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Imag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025" y="0"/>
            <a:ext cx="1649413" cy="98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ous-titre 2"/>
          <p:cNvSpPr>
            <a:spLocks noGrp="1"/>
          </p:cNvSpPr>
          <p:nvPr>
            <p:ph type="subTitle" idx="1"/>
          </p:nvPr>
        </p:nvSpPr>
        <p:spPr>
          <a:xfrm>
            <a:off x="2090882" y="3429000"/>
            <a:ext cx="6400800" cy="107157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r">
              <a:buNone/>
              <a:defRPr sz="2800" b="1">
                <a:solidFill>
                  <a:srgbClr val="F18B2E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Cliquez pour modifier le style des sous-titres du masque</a:t>
            </a:r>
            <a:endParaRPr lang="fr-FR" dirty="0"/>
          </a:p>
        </p:txBody>
      </p:sp>
      <p:sp>
        <p:nvSpPr>
          <p:cNvPr id="10" name="Titre 1"/>
          <p:cNvSpPr>
            <a:spLocks noGrp="1"/>
          </p:cNvSpPr>
          <p:nvPr>
            <p:ph type="ctrTitle"/>
          </p:nvPr>
        </p:nvSpPr>
        <p:spPr>
          <a:xfrm>
            <a:off x="719282" y="1923868"/>
            <a:ext cx="7772400" cy="1470025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algn="r">
              <a:defRPr sz="3200" b="1" cap="all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Cliquez et modifiez le titre</a:t>
            </a:r>
            <a:endParaRPr lang="fr-FR" dirty="0"/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97A4251-82A4-1144-8CA4-466AE71FDCFB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8" name="Espace réservé de la date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6F5B08B1-E130-4785-968A-0E97F090C81C}" type="datetime1">
              <a:rPr lang="fr-FR" smtClean="0"/>
              <a:pPr/>
              <a:t>23/10/2021</a:t>
            </a:fld>
            <a:endParaRPr lang="fr-FR"/>
          </a:p>
        </p:txBody>
      </p:sp>
      <p:sp>
        <p:nvSpPr>
          <p:cNvPr id="9" name="Espace réservé du pied de page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5861027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avec titre + sous-titre +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65175"/>
            <a:ext cx="1003300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1474" y="1600201"/>
            <a:ext cx="8443914" cy="328602"/>
          </a:xfrm>
          <a:prstGeom prst="rect">
            <a:avLst/>
          </a:prstGeom>
        </p:spPr>
        <p:txBody>
          <a:bodyPr/>
          <a:lstStyle>
            <a:lvl1pPr marL="0" indent="-432000">
              <a:buClr>
                <a:srgbClr val="F18B2E"/>
              </a:buClr>
              <a:buSzPct val="110000"/>
              <a:buFontTx/>
              <a:buBlip>
                <a:blip r:embed="rId3"/>
              </a:buBlip>
              <a:defRPr sz="1600" b="1" cap="all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  <a:lvl2pPr>
              <a:buFontTx/>
              <a:buNone/>
              <a:defRPr sz="1600" b="0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2pPr>
            <a:lvl3pPr>
              <a:buFont typeface="Arial" pitchFamily="34" charset="0"/>
              <a:buChar char="•"/>
              <a:defRPr sz="140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3pPr>
            <a:lvl4pPr>
              <a:buFont typeface="Wingdings" pitchFamily="2" charset="2"/>
              <a:buChar char="ü"/>
              <a:defRPr sz="120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/>
          </p:nvPr>
        </p:nvSpPr>
        <p:spPr>
          <a:xfrm>
            <a:off x="833307" y="2003310"/>
            <a:ext cx="8241567" cy="354120"/>
          </a:xfrm>
          <a:prstGeom prst="rect">
            <a:avLst/>
          </a:prstGeom>
        </p:spPr>
        <p:txBody>
          <a:bodyPr/>
          <a:lstStyle>
            <a:lvl1pPr marL="180975" indent="-163513">
              <a:buClr>
                <a:srgbClr val="463436"/>
              </a:buClr>
              <a:buFont typeface="Wingdings" charset="2"/>
              <a:buChar char="‣"/>
              <a:defRPr sz="1600" b="1" baseline="0">
                <a:solidFill>
                  <a:srgbClr val="F18B2E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600" b="1">
                <a:solidFill>
                  <a:srgbClr val="1D81BD"/>
                </a:solidFill>
              </a:defRPr>
            </a:lvl2pPr>
            <a:lvl3pPr>
              <a:defRPr sz="1600" b="1" baseline="0">
                <a:solidFill>
                  <a:srgbClr val="1D81BD"/>
                </a:solidFill>
              </a:defRPr>
            </a:lvl3pPr>
            <a:lvl4pPr>
              <a:defRPr sz="1600" b="1">
                <a:solidFill>
                  <a:srgbClr val="1D81BD"/>
                </a:solidFill>
              </a:defRPr>
            </a:lvl4pPr>
            <a:lvl5pPr>
              <a:defRPr sz="1600" b="1">
                <a:solidFill>
                  <a:srgbClr val="1D81BD"/>
                </a:solidFill>
              </a:defRPr>
            </a:lvl5pPr>
            <a:lvl6pPr>
              <a:defRPr sz="1600" b="1">
                <a:solidFill>
                  <a:srgbClr val="1D81BD"/>
                </a:solidFill>
              </a:defRPr>
            </a:lvl6pPr>
            <a:lvl7pPr>
              <a:defRPr sz="1600" b="1">
                <a:solidFill>
                  <a:srgbClr val="1D81BD"/>
                </a:solidFill>
              </a:defRPr>
            </a:lvl7pPr>
            <a:lvl8pPr>
              <a:defRPr sz="1600" b="1">
                <a:solidFill>
                  <a:srgbClr val="1D81BD"/>
                </a:solidFill>
              </a:defRPr>
            </a:lvl8pPr>
            <a:lvl9pPr>
              <a:buNone/>
              <a:defRPr sz="1600" b="1">
                <a:solidFill>
                  <a:srgbClr val="1D81BD"/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2" name="Titre 1"/>
          <p:cNvSpPr>
            <a:spLocks noGrp="1"/>
          </p:cNvSpPr>
          <p:nvPr>
            <p:ph type="title"/>
          </p:nvPr>
        </p:nvSpPr>
        <p:spPr>
          <a:xfrm>
            <a:off x="342928" y="260648"/>
            <a:ext cx="7037384" cy="79208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200" b="1" cap="all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Cliquez et modifiez le titre</a:t>
            </a:r>
            <a:endParaRPr lang="fr-FR" dirty="0"/>
          </a:p>
        </p:txBody>
      </p:sp>
      <p:sp>
        <p:nvSpPr>
          <p:cNvPr id="13" name="Espace réservé du contenu 14"/>
          <p:cNvSpPr>
            <a:spLocks noGrp="1"/>
          </p:cNvSpPr>
          <p:nvPr>
            <p:ph sz="quarter" idx="15"/>
          </p:nvPr>
        </p:nvSpPr>
        <p:spPr>
          <a:xfrm>
            <a:off x="827584" y="2428868"/>
            <a:ext cx="8247290" cy="3571900"/>
          </a:xfrm>
          <a:prstGeom prst="rect">
            <a:avLst/>
          </a:prstGeom>
        </p:spPr>
        <p:txBody>
          <a:bodyPr/>
          <a:lstStyle>
            <a:lvl1pPr marL="1588" indent="-1588" algn="just">
              <a:buFont typeface="Arial" pitchFamily="34" charset="0"/>
              <a:buNone/>
              <a:defRPr sz="1400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400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400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400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7F4AAB9A-83AE-584E-8D12-D8C74D9C9CA9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8" name="Espace réservé de la date 3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fld id="{10EC6AF3-B907-4D04-B68F-EBD5D641FA97}" type="datetime1">
              <a:rPr lang="fr-FR" smtClean="0"/>
              <a:pPr/>
              <a:t>23/10/2021</a:t>
            </a:fld>
            <a:endParaRPr lang="fr-FR"/>
          </a:p>
        </p:txBody>
      </p:sp>
      <p:sp>
        <p:nvSpPr>
          <p:cNvPr id="9" name="Espace réservé du pied de page 4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29324648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age avec titre + sous-titre +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65175"/>
            <a:ext cx="1003300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1474" y="1600201"/>
            <a:ext cx="8443914" cy="328602"/>
          </a:xfrm>
          <a:prstGeom prst="rect">
            <a:avLst/>
          </a:prstGeom>
        </p:spPr>
        <p:txBody>
          <a:bodyPr/>
          <a:lstStyle>
            <a:lvl1pPr marL="0" indent="-432000">
              <a:buClr>
                <a:srgbClr val="F18B2E"/>
              </a:buClr>
              <a:buSzPct val="110000"/>
              <a:buFontTx/>
              <a:buBlip>
                <a:blip r:embed="rId3"/>
              </a:buBlip>
              <a:defRPr sz="1600" b="1" cap="all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  <a:lvl2pPr>
              <a:buFontTx/>
              <a:buNone/>
              <a:defRPr sz="1600" b="0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2pPr>
            <a:lvl3pPr>
              <a:buFont typeface="Arial" pitchFamily="34" charset="0"/>
              <a:buChar char="•"/>
              <a:defRPr sz="140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3pPr>
            <a:lvl4pPr>
              <a:buFont typeface="Wingdings" pitchFamily="2" charset="2"/>
              <a:buChar char="ü"/>
              <a:defRPr sz="120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/>
          </p:nvPr>
        </p:nvSpPr>
        <p:spPr>
          <a:xfrm>
            <a:off x="833307" y="2003310"/>
            <a:ext cx="8241567" cy="354120"/>
          </a:xfrm>
          <a:prstGeom prst="rect">
            <a:avLst/>
          </a:prstGeom>
        </p:spPr>
        <p:txBody>
          <a:bodyPr/>
          <a:lstStyle>
            <a:lvl1pPr marL="180975" indent="-163513">
              <a:buClr>
                <a:srgbClr val="463436"/>
              </a:buClr>
              <a:buFont typeface="Wingdings" charset="2"/>
              <a:buChar char="‣"/>
              <a:defRPr sz="1600" b="1" baseline="0">
                <a:solidFill>
                  <a:srgbClr val="F18B2E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600" b="1">
                <a:solidFill>
                  <a:srgbClr val="1D81BD"/>
                </a:solidFill>
              </a:defRPr>
            </a:lvl2pPr>
            <a:lvl3pPr>
              <a:defRPr sz="1600" b="1" baseline="0">
                <a:solidFill>
                  <a:srgbClr val="1D81BD"/>
                </a:solidFill>
              </a:defRPr>
            </a:lvl3pPr>
            <a:lvl4pPr>
              <a:defRPr sz="1600" b="1">
                <a:solidFill>
                  <a:srgbClr val="1D81BD"/>
                </a:solidFill>
              </a:defRPr>
            </a:lvl4pPr>
            <a:lvl5pPr>
              <a:defRPr sz="1600" b="1">
                <a:solidFill>
                  <a:srgbClr val="1D81BD"/>
                </a:solidFill>
              </a:defRPr>
            </a:lvl5pPr>
            <a:lvl6pPr>
              <a:defRPr sz="1600" b="1">
                <a:solidFill>
                  <a:srgbClr val="1D81BD"/>
                </a:solidFill>
              </a:defRPr>
            </a:lvl6pPr>
            <a:lvl7pPr>
              <a:defRPr sz="1600" b="1">
                <a:solidFill>
                  <a:srgbClr val="1D81BD"/>
                </a:solidFill>
              </a:defRPr>
            </a:lvl7pPr>
            <a:lvl8pPr>
              <a:defRPr sz="1600" b="1">
                <a:solidFill>
                  <a:srgbClr val="1D81BD"/>
                </a:solidFill>
              </a:defRPr>
            </a:lvl8pPr>
            <a:lvl9pPr>
              <a:buNone/>
              <a:defRPr sz="1600" b="1">
                <a:solidFill>
                  <a:srgbClr val="1D81BD"/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2" name="Titre 1"/>
          <p:cNvSpPr>
            <a:spLocks noGrp="1"/>
          </p:cNvSpPr>
          <p:nvPr>
            <p:ph type="title"/>
          </p:nvPr>
        </p:nvSpPr>
        <p:spPr>
          <a:xfrm>
            <a:off x="342928" y="260648"/>
            <a:ext cx="7037384" cy="79208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200" b="1" cap="all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Cliquez et modifiez le titr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4AF200E0-C85F-3A4A-848A-643236141CAE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7" name="Espace réservé de la date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60218F76-A6DA-4797-AE6F-3A1BC664F282}" type="datetime1">
              <a:rPr lang="fr-FR" smtClean="0"/>
              <a:pPr/>
              <a:t>23/10/2021</a:t>
            </a:fld>
            <a:endParaRPr lang="fr-FR"/>
          </a:p>
        </p:txBody>
      </p:sp>
      <p:sp>
        <p:nvSpPr>
          <p:cNvPr id="8" name="Espace réservé du pied de page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40479806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age avec titre + sous-titre +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65175"/>
            <a:ext cx="1003300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ZoneTexte 3"/>
          <p:cNvSpPr txBox="1"/>
          <p:nvPr/>
        </p:nvSpPr>
        <p:spPr>
          <a:xfrm>
            <a:off x="8331200" y="6616700"/>
            <a:ext cx="184150" cy="3698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endParaRPr lang="fr-FR" sz="1800" dirty="0">
              <a:ea typeface="+mn-ea"/>
              <a:cs typeface="+mn-cs"/>
            </a:endParaRPr>
          </a:p>
        </p:txBody>
      </p:sp>
      <p:pic>
        <p:nvPicPr>
          <p:cNvPr id="5" name="Imag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2025" y="3276600"/>
            <a:ext cx="721995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re 1"/>
          <p:cNvSpPr>
            <a:spLocks noGrp="1"/>
          </p:cNvSpPr>
          <p:nvPr>
            <p:ph type="title"/>
          </p:nvPr>
        </p:nvSpPr>
        <p:spPr>
          <a:xfrm>
            <a:off x="2286000" y="685800"/>
            <a:ext cx="4585492" cy="45720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2200" b="1" cap="all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Cliquez et modifiez le titre</a:t>
            </a:r>
            <a:endParaRPr lang="fr-FR" dirty="0"/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10"/>
          </p:nvPr>
        </p:nvSpPr>
        <p:spPr>
          <a:xfrm>
            <a:off x="0" y="6477000"/>
            <a:ext cx="9144000" cy="381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38584031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/>
              <a:t>Cliquez pour modifier le style des sous-titres du masqu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8D2978E-2CE7-D545-A572-DBCEF7B3B145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C36E08A9-7B66-490D-A76C-2F768EE1CE5E}" type="datetime1">
              <a:rPr lang="fr-FR" smtClean="0"/>
              <a:pPr/>
              <a:t>23/10/2021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18213883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5AF95D1-4956-214C-8F5D-A8F941D52117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19135237-E8D9-4890-9612-1C24A2FA43A0}" type="datetime1">
              <a:rPr lang="fr-FR" smtClean="0"/>
              <a:pPr/>
              <a:t>23/10/2021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4539057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BCA3F5F-D417-FE45-BA36-FD72AD16D5AE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0E1AC0B1-31F5-4DD5-B06C-E055F2486436}" type="datetime1">
              <a:rPr lang="fr-FR" smtClean="0"/>
              <a:pPr/>
              <a:t>23/10/2021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39744197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26" Type="http://schemas.openxmlformats.org/officeDocument/2006/relationships/image" Target="../media/image6.emf"/><Relationship Id="rId3" Type="http://schemas.openxmlformats.org/officeDocument/2006/relationships/slideLayout" Target="../slideLayouts/slideLayout9.xml"/><Relationship Id="rId21" Type="http://schemas.openxmlformats.org/officeDocument/2006/relationships/tags" Target="../tags/tag9.xml"/><Relationship Id="rId7" Type="http://schemas.openxmlformats.org/officeDocument/2006/relationships/slideLayout" Target="../slideLayouts/slideLayout13.xml"/><Relationship Id="rId12" Type="http://schemas.openxmlformats.org/officeDocument/2006/relationships/theme" Target="../theme/theme2.xml"/><Relationship Id="rId17" Type="http://schemas.openxmlformats.org/officeDocument/2006/relationships/tags" Target="../tags/tag5.xml"/><Relationship Id="rId25" Type="http://schemas.openxmlformats.org/officeDocument/2006/relationships/image" Target="../media/image5.emf"/><Relationship Id="rId2" Type="http://schemas.openxmlformats.org/officeDocument/2006/relationships/slideLayout" Target="../slideLayouts/slideLayout8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11.xml"/><Relationship Id="rId15" Type="http://schemas.openxmlformats.org/officeDocument/2006/relationships/tags" Target="../tags/tag3.xml"/><Relationship Id="rId23" Type="http://schemas.openxmlformats.org/officeDocument/2006/relationships/tags" Target="../tags/tag11.xml"/><Relationship Id="rId10" Type="http://schemas.openxmlformats.org/officeDocument/2006/relationships/slideLayout" Target="../slideLayouts/slideLayout16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tags" Target="../tags/tag2.xml"/><Relationship Id="rId22" Type="http://schemas.openxmlformats.org/officeDocument/2006/relationships/tags" Target="../tags/tag10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7554486" y="6306797"/>
            <a:ext cx="1512604" cy="418744"/>
          </a:xfrm>
          <a:prstGeom prst="rect">
            <a:avLst/>
          </a:prstGeom>
          <a:solidFill>
            <a:srgbClr val="F18B2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800" dirty="0"/>
              <a:t>L'HERBLAISIENNE –</a:t>
            </a:r>
          </a:p>
          <a:p>
            <a:pPr algn="ctr">
              <a:defRPr/>
            </a:pPr>
            <a:r>
              <a:rPr lang="fr-FR" sz="800" dirty="0"/>
              <a:t>43 rue du Général de Gaulle</a:t>
            </a:r>
          </a:p>
          <a:p>
            <a:pPr algn="ctr">
              <a:defRPr/>
            </a:pPr>
            <a:r>
              <a:rPr lang="fr-FR" sz="800" dirty="0"/>
              <a:t> 95220 HERBLAY</a:t>
            </a:r>
          </a:p>
        </p:txBody>
      </p:sp>
      <p:sp>
        <p:nvSpPr>
          <p:cNvPr id="3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938965" y="6453188"/>
            <a:ext cx="482600" cy="30162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chemeClr val="bg1"/>
                </a:solidFill>
                <a:cs typeface="Arial" charset="0"/>
              </a:defRPr>
            </a:lvl1pPr>
          </a:lstStyle>
          <a:p>
            <a:fld id="{F8A22C28-2E41-8349-AB9D-CE900EF092C8}" type="slidenum">
              <a:rPr lang="fr-FR"/>
              <a:pPr/>
              <a:t>‹N°›</a:t>
            </a:fld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185738" y="6524625"/>
            <a:ext cx="847725" cy="222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EDC4C2F6-4744-4488-8FC2-4C25EAB392D1}" type="datetime1">
              <a:rPr lang="fr-FR" smtClean="0"/>
              <a:pPr/>
              <a:t>23/10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1042988" y="6524625"/>
            <a:ext cx="5400675" cy="2174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fr-FR"/>
              <a:t>Assemblée Générale Ordinaire - 16 11 2017</a:t>
            </a:r>
            <a:endParaRPr lang="fr-F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</p:sldLayoutIdLst>
  <p:hf hdr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828" name="Object 12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4" imgW="360" imgH="360" progId="">
                  <p:embed/>
                </p:oleObj>
              </mc:Choice>
              <mc:Fallback>
                <p:oleObj name="think-cell Slide" r:id="rId24" imgW="360" imgH="360" progId="">
                  <p:embed/>
                  <p:pic>
                    <p:nvPicPr>
                      <p:cNvPr id="34828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8099" dir="2700000" algn="ctr" rotWithShape="0">
                                <a:srgbClr val="00000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826" name="Rectangle 10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1116013" y="1924050"/>
            <a:ext cx="7375525" cy="3233738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 style du titre</a:t>
            </a:r>
            <a:br>
              <a:rPr lang="fr-FR"/>
            </a:br>
            <a:br>
              <a:rPr lang="fr-FR"/>
            </a:br>
            <a:endParaRPr lang="fr-FR"/>
          </a:p>
        </p:txBody>
      </p:sp>
      <p:sp>
        <p:nvSpPr>
          <p:cNvPr id="2" name="Rectangle 1"/>
          <p:cNvSpPr/>
          <p:nvPr>
            <p:custDataLst>
              <p:tags r:id="rId16"/>
            </p:custDataLst>
          </p:nvPr>
        </p:nvSpPr>
        <p:spPr>
          <a:xfrm>
            <a:off x="0" y="6381750"/>
            <a:ext cx="9144000" cy="476250"/>
          </a:xfrm>
          <a:prstGeom prst="rect">
            <a:avLst/>
          </a:prstGeom>
          <a:solidFill>
            <a:srgbClr val="F18B2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1800"/>
              <a:t> </a:t>
            </a:r>
          </a:p>
        </p:txBody>
      </p:sp>
      <p:pic>
        <p:nvPicPr>
          <p:cNvPr id="34819" name="Image 5"/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1175" y="6524625"/>
            <a:ext cx="762000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20" name="Image 6"/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025" y="549275"/>
            <a:ext cx="1649413" cy="695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21" name="Image 7"/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025" y="0"/>
            <a:ext cx="1649413" cy="98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Espace réservé du numéro de diapositive 5"/>
          <p:cNvSpPr>
            <a:spLocks noGrp="1"/>
          </p:cNvSpPr>
          <p:nvPr>
            <p:ph type="sldNum" sz="quarter" idx="4"/>
            <p:custDataLst>
              <p:tags r:id="rId20"/>
            </p:custDataLst>
          </p:nvPr>
        </p:nvSpPr>
        <p:spPr>
          <a:xfrm>
            <a:off x="7451725" y="6453188"/>
            <a:ext cx="482600" cy="30162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chemeClr val="bg1"/>
                </a:solidFill>
                <a:cs typeface="+mn-cs"/>
              </a:defRPr>
            </a:lvl1pPr>
          </a:lstStyle>
          <a:p>
            <a:fld id="{41556B01-E030-8F4C-8743-8C9CBC617DA7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11" name="Espace réservé de la date 3"/>
          <p:cNvSpPr>
            <a:spLocks noGrp="1"/>
          </p:cNvSpPr>
          <p:nvPr>
            <p:ph type="dt" sz="half" idx="2"/>
            <p:custDataLst>
              <p:tags r:id="rId21"/>
            </p:custDataLst>
          </p:nvPr>
        </p:nvSpPr>
        <p:spPr>
          <a:xfrm>
            <a:off x="185738" y="6524625"/>
            <a:ext cx="847725" cy="222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A9D0F6A0-4F59-4D68-AD96-758C0746EA59}" type="datetime1">
              <a:rPr lang="fr-FR" smtClean="0"/>
              <a:pPr/>
              <a:t>23/10/2021</a:t>
            </a:fld>
            <a:endParaRPr lang="fr-FR"/>
          </a:p>
        </p:txBody>
      </p:sp>
      <p:sp>
        <p:nvSpPr>
          <p:cNvPr id="12" name="Espace réservé du pied de page 4"/>
          <p:cNvSpPr>
            <a:spLocks noGrp="1"/>
          </p:cNvSpPr>
          <p:nvPr>
            <p:ph type="ftr" sz="quarter" idx="3"/>
            <p:custDataLst>
              <p:tags r:id="rId22"/>
            </p:custDataLst>
          </p:nvPr>
        </p:nvSpPr>
        <p:spPr>
          <a:xfrm>
            <a:off x="1042988" y="6524625"/>
            <a:ext cx="5400675" cy="2174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fr-FR"/>
              <a:t>Assemblée Générale Ordinaire - 16 11 2017</a:t>
            </a:r>
          </a:p>
        </p:txBody>
      </p:sp>
      <p:sp>
        <p:nvSpPr>
          <p:cNvPr id="34827" name="Rectangle 11"/>
          <p:cNvSpPr>
            <a:spLocks noGrp="1" noChangeArrowheads="1"/>
          </p:cNvSpPr>
          <p:nvPr>
            <p:ph type="body" idx="1"/>
            <p:custDataLst>
              <p:tags r:id="rId23"/>
            </p:custDataLst>
          </p:nvPr>
        </p:nvSpPr>
        <p:spPr bwMode="auto">
          <a:xfrm>
            <a:off x="7264400" y="307975"/>
            <a:ext cx="730250" cy="600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#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</p:sldLayoutIdLst>
  <p:hf hdr="0"/>
  <p:txStyles>
    <p:titleStyle>
      <a:lvl1pPr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+mj-lt"/>
          <a:ea typeface="+mj-ea"/>
          <a:cs typeface="+mj-cs"/>
        </a:defRPr>
      </a:lvl1pPr>
      <a:lvl2pPr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Arial" charset="0"/>
          <a:ea typeface="ＭＳ Ｐゴシック" charset="0"/>
          <a:cs typeface="Arial" charset="0"/>
        </a:defRPr>
      </a:lvl2pPr>
      <a:lvl3pPr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Arial" charset="0"/>
          <a:ea typeface="ＭＳ Ｐゴシック" charset="0"/>
          <a:cs typeface="Arial" charset="0"/>
        </a:defRPr>
      </a:lvl3pPr>
      <a:lvl4pPr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Arial" charset="0"/>
          <a:ea typeface="ＭＳ Ｐゴシック" charset="0"/>
          <a:cs typeface="Arial" charset="0"/>
        </a:defRPr>
      </a:lvl4pPr>
      <a:lvl5pPr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Arial" charset="0"/>
          <a:ea typeface="ＭＳ Ｐゴシック" charset="0"/>
          <a:cs typeface="Arial" charset="0"/>
        </a:defRPr>
      </a:lvl5pPr>
      <a:lvl6pPr marL="457200"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Arial" charset="0"/>
          <a:ea typeface="ＭＳ Ｐゴシック" charset="0"/>
          <a:cs typeface="Arial" charset="0"/>
        </a:defRPr>
      </a:lvl6pPr>
      <a:lvl7pPr marL="914400"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Arial" charset="0"/>
          <a:ea typeface="ＭＳ Ｐゴシック" charset="0"/>
          <a:cs typeface="Arial" charset="0"/>
        </a:defRPr>
      </a:lvl7pPr>
      <a:lvl8pPr marL="1371600"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Arial" charset="0"/>
          <a:ea typeface="ＭＳ Ｐゴシック" charset="0"/>
          <a:cs typeface="Arial" charset="0"/>
        </a:defRPr>
      </a:lvl8pPr>
      <a:lvl9pPr marL="1828800"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Arial" charset="0"/>
          <a:ea typeface="ＭＳ Ｐゴシック" charset="0"/>
          <a:cs typeface="Arial" charset="0"/>
        </a:defRPr>
      </a:lvl9pPr>
    </p:titleStyle>
    <p:bodyStyle>
      <a:lvl1pPr algn="ctr" rtl="0" fontAlgn="base">
        <a:spcBef>
          <a:spcPct val="20000"/>
        </a:spcBef>
        <a:spcAft>
          <a:spcPct val="0"/>
        </a:spcAft>
        <a:buFont typeface="Arial" charset="0"/>
        <a:defRPr sz="3200" b="1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defRPr sz="2800">
          <a:solidFill>
            <a:schemeClr val="tx1"/>
          </a:solidFill>
          <a:latin typeface="Calibri" charset="0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Calibri" charset="0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defRPr sz="2000">
          <a:solidFill>
            <a:schemeClr val="tx1"/>
          </a:solidFill>
          <a:latin typeface="Calibri" charset="0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defRPr sz="2000">
          <a:solidFill>
            <a:schemeClr val="tx1"/>
          </a:solidFill>
          <a:latin typeface="Calibri" charset="0"/>
          <a:ea typeface="+mn-ea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defRPr sz="2000">
          <a:solidFill>
            <a:schemeClr val="tx1"/>
          </a:solidFill>
          <a:latin typeface="Calibri" charset="0"/>
          <a:ea typeface="+mn-ea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defRPr sz="2000">
          <a:solidFill>
            <a:schemeClr val="tx1"/>
          </a:solidFill>
          <a:latin typeface="Calibri" charset="0"/>
          <a:ea typeface="+mn-ea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defRPr sz="2000">
          <a:solidFill>
            <a:schemeClr val="tx1"/>
          </a:solidFill>
          <a:latin typeface="Calibri" charset="0"/>
          <a:ea typeface="+mn-ea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defRPr sz="2000">
          <a:solidFill>
            <a:schemeClr val="tx1"/>
          </a:solidFill>
          <a:latin typeface="Calibri" charset="0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7" Type="http://schemas.openxmlformats.org/officeDocument/2006/relationships/image" Target="../media/image13.jpeg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7" Type="http://schemas.openxmlformats.org/officeDocument/2006/relationships/image" Target="../media/image13.jpeg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7" Type="http://schemas.openxmlformats.org/officeDocument/2006/relationships/image" Target="../media/image13.jpeg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7" Type="http://schemas.openxmlformats.org/officeDocument/2006/relationships/image" Target="../media/image13.jpeg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7" Type="http://schemas.openxmlformats.org/officeDocument/2006/relationships/image" Target="../media/image13.jpeg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3" Type="http://schemas.openxmlformats.org/officeDocument/2006/relationships/diagramLayout" Target="../diagrams/layout11.xml"/><Relationship Id="rId7" Type="http://schemas.openxmlformats.org/officeDocument/2006/relationships/image" Target="../media/image13.jpeg"/><Relationship Id="rId2" Type="http://schemas.openxmlformats.org/officeDocument/2006/relationships/diagramData" Target="../diagrams/data1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1.xml"/><Relationship Id="rId5" Type="http://schemas.openxmlformats.org/officeDocument/2006/relationships/diagramColors" Target="../diagrams/colors11.xml"/><Relationship Id="rId4" Type="http://schemas.openxmlformats.org/officeDocument/2006/relationships/diagramQuickStyle" Target="../diagrams/quickStyle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12.jpe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diagramLayout" Target="../diagrams/layout3.xml"/><Relationship Id="rId7" Type="http://schemas.openxmlformats.org/officeDocument/2006/relationships/image" Target="../media/image19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11" Type="http://schemas.openxmlformats.org/officeDocument/2006/relationships/image" Target="../media/image22.jpeg"/><Relationship Id="rId5" Type="http://schemas.openxmlformats.org/officeDocument/2006/relationships/diagramColors" Target="../diagrams/colors3.xml"/><Relationship Id="rId10" Type="http://schemas.openxmlformats.org/officeDocument/2006/relationships/image" Target="../media/image15.jpeg"/><Relationship Id="rId4" Type="http://schemas.openxmlformats.org/officeDocument/2006/relationships/diagramQuickStyle" Target="../diagrams/quickStyle3.xml"/><Relationship Id="rId9" Type="http://schemas.openxmlformats.org/officeDocument/2006/relationships/image" Target="../media/image21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ctrTitle"/>
          </p:nvPr>
        </p:nvSpPr>
        <p:spPr>
          <a:xfrm>
            <a:off x="755650" y="1628775"/>
            <a:ext cx="7772400" cy="1000125"/>
          </a:xfrm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r>
              <a:rPr lang="fr-FR" cap="none" dirty="0">
                <a:latin typeface="Arial" charset="0"/>
                <a:cs typeface="Arial" charset="0"/>
              </a:rPr>
              <a:t>Assemblée </a:t>
            </a:r>
            <a:br>
              <a:rPr lang="fr-FR" cap="none" dirty="0">
                <a:latin typeface="Arial" charset="0"/>
                <a:cs typeface="Arial" charset="0"/>
              </a:rPr>
            </a:br>
            <a:r>
              <a:rPr lang="fr-FR" cap="none" dirty="0">
                <a:latin typeface="Arial" charset="0"/>
                <a:cs typeface="Arial" charset="0"/>
              </a:rPr>
              <a:t>Générale Ordinaire </a:t>
            </a:r>
          </a:p>
        </p:txBody>
      </p:sp>
      <p:sp>
        <p:nvSpPr>
          <p:cNvPr id="10243" name="Sous-titre 3"/>
          <p:cNvSpPr>
            <a:spLocks noGrp="1"/>
          </p:cNvSpPr>
          <p:nvPr>
            <p:ph type="subTitle" idx="1"/>
          </p:nvPr>
        </p:nvSpPr>
        <p:spPr bwMode="auto">
          <a:xfrm>
            <a:off x="4727274" y="2781300"/>
            <a:ext cx="3800775" cy="1071563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dirty="0">
                <a:latin typeface="Arial" charset="0"/>
                <a:cs typeface="Arial" charset="0"/>
              </a:rPr>
              <a:t>23 Octobre 2021</a:t>
            </a:r>
          </a:p>
          <a:p>
            <a:pPr algn="ctr"/>
            <a:r>
              <a:rPr lang="fr-FR" dirty="0">
                <a:solidFill>
                  <a:srgbClr val="FF0000"/>
                </a:solidFill>
                <a:latin typeface="Arial" charset="0"/>
                <a:cs typeface="Arial" charset="0"/>
              </a:rPr>
              <a:t>Bienvenue</a:t>
            </a:r>
          </a:p>
        </p:txBody>
      </p:sp>
      <p:sp>
        <p:nvSpPr>
          <p:cNvPr id="7" name="Rectangle 6"/>
          <p:cNvSpPr/>
          <p:nvPr/>
        </p:nvSpPr>
        <p:spPr>
          <a:xfrm>
            <a:off x="2544792" y="3838755"/>
            <a:ext cx="45719" cy="4571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Rectangle 7"/>
          <p:cNvSpPr/>
          <p:nvPr/>
        </p:nvSpPr>
        <p:spPr>
          <a:xfrm>
            <a:off x="1035170" y="3579962"/>
            <a:ext cx="3148641" cy="3709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47108" name="Picture 4" descr="https://www.lherblaisienne.fr/media/uploaded/sites/10021/partenaire/56be3c055f114_logofondblancffbad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046752" y="3860049"/>
            <a:ext cx="1690477" cy="2173470"/>
          </a:xfrm>
          <a:prstGeom prst="rect">
            <a:avLst/>
          </a:prstGeom>
          <a:noFill/>
        </p:spPr>
      </p:pic>
      <p:pic>
        <p:nvPicPr>
          <p:cNvPr id="47110" name="Picture 6" descr="Fédération Française de Gymnastique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849673" y="4174757"/>
            <a:ext cx="1759489" cy="1114344"/>
          </a:xfrm>
          <a:prstGeom prst="rect">
            <a:avLst/>
          </a:prstGeom>
          <a:noFill/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A708557B-15A4-4E74-AF53-7FCD21B0437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950" y="688029"/>
            <a:ext cx="4232801" cy="5481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600570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53934E68-7F8B-467D-BA6A-920DAD90D6E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0527" y="5456"/>
            <a:ext cx="1645736" cy="1645736"/>
          </a:xfrm>
          <a:prstGeom prst="rect">
            <a:avLst/>
          </a:prstGeom>
        </p:spPr>
      </p:pic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FD6DF33D-FCDE-4A65-9CCF-3AAFCAB0B5C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9532" y="1360785"/>
            <a:ext cx="8424936" cy="4778060"/>
          </a:xfrm>
        </p:spPr>
        <p:txBody>
          <a:bodyPr/>
          <a:lstStyle/>
          <a:p>
            <a:r>
              <a:rPr lang="fr-FR" dirty="0"/>
              <a:t> </a:t>
            </a:r>
            <a:r>
              <a:rPr lang="fr-FR" sz="1400" dirty="0"/>
              <a:t>Jonathan PASTEN seul entraineur aidé de Mathias COLAS en formation « Animateur Fédéral ».</a:t>
            </a:r>
          </a:p>
          <a:p>
            <a:pPr lvl="1"/>
            <a:r>
              <a:rPr lang="fr-FR" sz="1400" dirty="0"/>
              <a:t>Jonathan fait partie  de l’équipe départementale pédagogique.</a:t>
            </a:r>
          </a:p>
          <a:p>
            <a:pPr lvl="1"/>
            <a:endParaRPr lang="fr-FR" sz="1400" dirty="0"/>
          </a:p>
          <a:p>
            <a:r>
              <a:rPr lang="fr-FR" sz="1400" dirty="0"/>
              <a:t>Un nombre d’adhérents satisfaisant notamment au niveau des Mini-Gym.</a:t>
            </a:r>
          </a:p>
          <a:p>
            <a:endParaRPr lang="fr-FR" sz="1400" dirty="0"/>
          </a:p>
          <a:p>
            <a:r>
              <a:rPr lang="fr-FR" sz="1400" dirty="0"/>
              <a:t>Une orientation compétitions plus prononcée que ces dernières années :</a:t>
            </a:r>
          </a:p>
          <a:p>
            <a:pPr lvl="1"/>
            <a:r>
              <a:rPr lang="fr-FR" sz="1400" dirty="0"/>
              <a:t>4 ou 5 équipes engagées en compétitions et 3 individuels</a:t>
            </a:r>
          </a:p>
          <a:p>
            <a:pPr lvl="1"/>
            <a:r>
              <a:rPr lang="fr-FR" sz="1400" dirty="0"/>
              <a:t>Objectifs :</a:t>
            </a:r>
          </a:p>
          <a:p>
            <a:pPr lvl="2"/>
            <a:r>
              <a:rPr lang="fr-FR" sz="1200" dirty="0"/>
              <a:t>1 équipe qualifiée au championnat de France Fédéral A</a:t>
            </a:r>
          </a:p>
          <a:p>
            <a:pPr lvl="2"/>
            <a:r>
              <a:rPr lang="fr-FR" sz="1200" dirty="0"/>
              <a:t>2 individuels qualifiés au championnat de France National B</a:t>
            </a:r>
          </a:p>
          <a:p>
            <a:pPr lvl="2"/>
            <a:r>
              <a:rPr lang="fr-FR" sz="1200" dirty="0"/>
              <a:t>1 équipe poussine qualifiée en finale performance régionale</a:t>
            </a:r>
          </a:p>
          <a:p>
            <a:pPr lvl="2"/>
            <a:r>
              <a:rPr lang="fr-FR" sz="1200" dirty="0"/>
              <a:t>Les équipes Fédéral B qualifiées en Finale</a:t>
            </a:r>
          </a:p>
          <a:p>
            <a:r>
              <a:rPr lang="fr-FR" sz="1400" dirty="0"/>
              <a:t>5 juges en recyclage</a:t>
            </a:r>
          </a:p>
          <a:p>
            <a:r>
              <a:rPr lang="fr-FR" sz="1400" dirty="0"/>
              <a:t>Matériel : Poursuite du renouvellement des équipements </a:t>
            </a:r>
          </a:p>
          <a:p>
            <a:pPr lvl="2"/>
            <a:r>
              <a:rPr lang="fr-FR" sz="1200" dirty="0"/>
              <a:t>Après les barres parallèles : 1 cheval d’arçons et une plateforme de parade aux barres parallèles</a:t>
            </a:r>
          </a:p>
          <a:p>
            <a:r>
              <a:rPr lang="fr-FR" sz="1400" dirty="0"/>
              <a:t>Organisation le  décembre du Stage de perfectionnement départemental avec 6 inscrits du club.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37C08849-C25E-4A54-9BD7-7BFFA8CBFE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a GYMNASTIQUE Masculine pour 2021-2022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6D820EDE-18F3-41B9-AEF2-89416D080F9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10</a:t>
            </a:fld>
            <a:endParaRPr lang="fr-FR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1985698D-CF5E-4FBA-BA92-A12AC8591CF1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23/10/2021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779C4251-2806-41FD-A781-334F318D0E5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93135779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FD6DF33D-FCDE-4A65-9CCF-3AAFCAB0B5C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2928" y="1161595"/>
            <a:ext cx="8424936" cy="4920228"/>
          </a:xfrm>
        </p:spPr>
        <p:txBody>
          <a:bodyPr/>
          <a:lstStyle/>
          <a:p>
            <a:r>
              <a:rPr lang="fr-FR" sz="1400" dirty="0"/>
              <a:t>Poursuite du développement dans l’esprit « BAD POUR TOUS »</a:t>
            </a:r>
          </a:p>
          <a:p>
            <a:endParaRPr lang="fr-FR" sz="1400" dirty="0"/>
          </a:p>
          <a:p>
            <a:r>
              <a:rPr lang="fr-FR" sz="1400" dirty="0"/>
              <a:t>Au niveau compétitions :</a:t>
            </a:r>
          </a:p>
          <a:p>
            <a:pPr lvl="2"/>
            <a:r>
              <a:rPr lang="fr-FR" sz="1200" b="1" dirty="0"/>
              <a:t>Equipes Engagées</a:t>
            </a:r>
          </a:p>
          <a:p>
            <a:pPr lvl="3"/>
            <a:r>
              <a:rPr lang="fr-FR" sz="1100" dirty="0"/>
              <a:t>4 équipes Mixtes sur 12 ou 14 journées </a:t>
            </a:r>
          </a:p>
          <a:p>
            <a:pPr lvl="3"/>
            <a:r>
              <a:rPr lang="fr-FR" sz="1100" dirty="0"/>
              <a:t>2 équipes Masculines 12 ou 14 journées</a:t>
            </a:r>
          </a:p>
          <a:p>
            <a:pPr lvl="3"/>
            <a:r>
              <a:rPr lang="fr-FR" sz="1100" dirty="0"/>
              <a:t>2 équipes Vétérans sur 4 journées</a:t>
            </a:r>
          </a:p>
          <a:p>
            <a:pPr lvl="3"/>
            <a:endParaRPr lang="fr-FR" sz="1100" dirty="0"/>
          </a:p>
          <a:p>
            <a:pPr lvl="2"/>
            <a:r>
              <a:rPr lang="fr-FR" sz="1200" b="1" dirty="0"/>
              <a:t>Equipes en cours de constitution :</a:t>
            </a:r>
          </a:p>
          <a:p>
            <a:pPr lvl="3"/>
            <a:r>
              <a:rPr lang="fr-FR" sz="1100" dirty="0"/>
              <a:t>1 ou 2 pour la coupe du Val d’Oise – coupe Anne Laurent – sur 4 journées</a:t>
            </a:r>
          </a:p>
          <a:p>
            <a:pPr lvl="3"/>
            <a:r>
              <a:rPr lang="fr-FR" sz="1100" dirty="0"/>
              <a:t>Equipes jeunes sur 4 journées</a:t>
            </a:r>
          </a:p>
          <a:p>
            <a:pPr lvl="3"/>
            <a:endParaRPr lang="fr-FR" sz="1100" dirty="0"/>
          </a:p>
          <a:p>
            <a:pPr lvl="2"/>
            <a:r>
              <a:rPr lang="fr-FR" sz="1200" b="1" dirty="0"/>
              <a:t>Compétitions individuelles </a:t>
            </a:r>
          </a:p>
          <a:p>
            <a:pPr lvl="3"/>
            <a:r>
              <a:rPr lang="fr-FR" sz="1100" dirty="0"/>
              <a:t>3 plateaux techniques pour les Mini Bad – Poussins et Benjamins</a:t>
            </a:r>
          </a:p>
          <a:p>
            <a:pPr lvl="3"/>
            <a:r>
              <a:rPr lang="fr-FR" sz="1100" dirty="0"/>
              <a:t>5 rencontres départementales jeunes pour les Poussins et Benjamins</a:t>
            </a:r>
          </a:p>
          <a:p>
            <a:pPr lvl="3"/>
            <a:r>
              <a:rPr lang="fr-FR" sz="1100" dirty="0"/>
              <a:t>4 Trophée Départementaux Jeunes pour les Minimes Cadets</a:t>
            </a:r>
          </a:p>
          <a:p>
            <a:pPr lvl="3"/>
            <a:r>
              <a:rPr lang="fr-FR" sz="1100" dirty="0"/>
              <a:t>Championnats départementaux de Poussins à Juniors</a:t>
            </a:r>
          </a:p>
          <a:p>
            <a:pPr lvl="3"/>
            <a:r>
              <a:rPr lang="fr-FR" sz="1100" dirty="0"/>
              <a:t>Championnats départementaux</a:t>
            </a:r>
          </a:p>
          <a:p>
            <a:pPr lvl="4"/>
            <a:r>
              <a:rPr lang="fr-FR" sz="900" dirty="0"/>
              <a:t>Vétéran</a:t>
            </a:r>
          </a:p>
          <a:p>
            <a:pPr lvl="4"/>
            <a:r>
              <a:rPr lang="fr-FR" sz="900" dirty="0"/>
              <a:t>Sénior en Simples</a:t>
            </a:r>
          </a:p>
          <a:p>
            <a:pPr lvl="4"/>
            <a:r>
              <a:rPr lang="fr-FR" sz="900" dirty="0"/>
              <a:t>Sénior en doubles</a:t>
            </a:r>
          </a:p>
          <a:p>
            <a:pPr lvl="4"/>
            <a:endParaRPr lang="fr-FR" sz="900" dirty="0"/>
          </a:p>
          <a:p>
            <a:pPr lvl="3"/>
            <a:r>
              <a:rPr lang="fr-FR" sz="1100" dirty="0"/>
              <a:t>Tournois privés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37C08849-C25E-4A54-9BD7-7BFFA8CBFE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 BADMINTON pour 2021-2022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6D820EDE-18F3-41B9-AEF2-89416D080F9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11</a:t>
            </a:fld>
            <a:endParaRPr lang="fr-FR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1985698D-CF5E-4FBA-BA92-A12AC8591CF1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23/10/2021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779C4251-2806-41FD-A781-334F318D0E5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4EEE9789-4AEE-4F6E-9696-AEAB75381B8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3900" y="136565"/>
            <a:ext cx="967454" cy="9674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65006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3A628B20-932A-4EB9-B3A7-B3710F2586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2817" y="853250"/>
            <a:ext cx="8424936" cy="5815997"/>
          </a:xfrm>
        </p:spPr>
        <p:txBody>
          <a:bodyPr/>
          <a:lstStyle/>
          <a:p>
            <a:r>
              <a:rPr lang="fr-FR" sz="1400" dirty="0"/>
              <a:t>Assemble Générale et Tournoi interne : </a:t>
            </a:r>
            <a:r>
              <a:rPr lang="fr-FR" sz="1400" dirty="0">
                <a:solidFill>
                  <a:schemeClr val="accent6"/>
                </a:solidFill>
              </a:rPr>
              <a:t>23 octobre 2021</a:t>
            </a:r>
          </a:p>
          <a:p>
            <a:endParaRPr lang="fr-FR" sz="1400" dirty="0"/>
          </a:p>
          <a:p>
            <a:r>
              <a:rPr lang="fr-FR" sz="1400" dirty="0"/>
              <a:t>IC Mixtes et Masculins : </a:t>
            </a:r>
            <a:r>
              <a:rPr lang="fr-FR" sz="1400" dirty="0">
                <a:solidFill>
                  <a:srgbClr val="F18B2E"/>
                </a:solidFill>
              </a:rPr>
              <a:t>les jeudis </a:t>
            </a:r>
            <a:r>
              <a:rPr lang="fr-FR" sz="1400" dirty="0"/>
              <a:t>– </a:t>
            </a:r>
            <a:r>
              <a:rPr lang="fr-FR" sz="1400" dirty="0">
                <a:solidFill>
                  <a:srgbClr val="F18B2E"/>
                </a:solidFill>
              </a:rPr>
              <a:t>semaine du 8/11 à la semaine du 11/04</a:t>
            </a:r>
          </a:p>
          <a:p>
            <a:endParaRPr lang="fr-FR" sz="1400" dirty="0">
              <a:solidFill>
                <a:srgbClr val="F18B2E"/>
              </a:solidFill>
            </a:endParaRPr>
          </a:p>
          <a:p>
            <a:r>
              <a:rPr lang="fr-FR" sz="1400" dirty="0"/>
              <a:t>Téléthon – soirée Badminton : </a:t>
            </a:r>
            <a:r>
              <a:rPr lang="fr-FR" sz="1400" dirty="0">
                <a:solidFill>
                  <a:schemeClr val="accent6"/>
                </a:solidFill>
              </a:rPr>
              <a:t>Vendredi 3 décembre 2021</a:t>
            </a:r>
          </a:p>
          <a:p>
            <a:endParaRPr lang="fr-FR" sz="1400" dirty="0">
              <a:solidFill>
                <a:schemeClr val="accent6"/>
              </a:solidFill>
            </a:endParaRPr>
          </a:p>
          <a:p>
            <a:r>
              <a:rPr lang="fr-FR" sz="1400" dirty="0"/>
              <a:t>15 -ème tournoi des Mousquetaires  : </a:t>
            </a:r>
            <a:r>
              <a:rPr lang="fr-FR" sz="1400" dirty="0">
                <a:solidFill>
                  <a:schemeClr val="accent6"/>
                </a:solidFill>
              </a:rPr>
              <a:t>Samedi 19 et Dimanche 20 février 2022</a:t>
            </a:r>
          </a:p>
          <a:p>
            <a:endParaRPr lang="fr-FR" sz="1400" dirty="0">
              <a:solidFill>
                <a:schemeClr val="accent6"/>
              </a:solidFill>
            </a:endParaRPr>
          </a:p>
          <a:p>
            <a:r>
              <a:rPr lang="fr-FR" sz="1400" dirty="0"/>
              <a:t>IC Vétéran Journée 3 : </a:t>
            </a:r>
            <a:r>
              <a:rPr lang="fr-FR" sz="1400" dirty="0">
                <a:solidFill>
                  <a:schemeClr val="accent6"/>
                </a:solidFill>
              </a:rPr>
              <a:t>Dimanche 27 mars 2022</a:t>
            </a:r>
          </a:p>
          <a:p>
            <a:endParaRPr lang="fr-FR" sz="1400" dirty="0"/>
          </a:p>
          <a:p>
            <a:r>
              <a:rPr lang="fr-FR" sz="1400" dirty="0"/>
              <a:t>Championnat du Val doubles Séniors : </a:t>
            </a:r>
            <a:r>
              <a:rPr lang="fr-FR" sz="1400" dirty="0">
                <a:solidFill>
                  <a:schemeClr val="accent6"/>
                </a:solidFill>
              </a:rPr>
              <a:t>Samedi 9 et Dimanche 10 avril 2022</a:t>
            </a:r>
          </a:p>
          <a:p>
            <a:endParaRPr lang="fr-FR" sz="1400" dirty="0"/>
          </a:p>
          <a:p>
            <a:r>
              <a:rPr lang="fr-FR" sz="1400" dirty="0"/>
              <a:t>Finales IC Régionaux et Départementaux : </a:t>
            </a:r>
            <a:r>
              <a:rPr lang="fr-FR" sz="1400" dirty="0">
                <a:solidFill>
                  <a:schemeClr val="accent6"/>
                </a:solidFill>
              </a:rPr>
              <a:t>Samedi 23 et Dimanche 24 avril 2022</a:t>
            </a:r>
          </a:p>
          <a:p>
            <a:endParaRPr lang="fr-FR" sz="1400" dirty="0">
              <a:solidFill>
                <a:schemeClr val="accent6"/>
              </a:solidFill>
            </a:endParaRPr>
          </a:p>
          <a:p>
            <a:r>
              <a:rPr lang="fr-FR" sz="1400" dirty="0">
                <a:solidFill>
                  <a:schemeClr val="tx1"/>
                </a:solidFill>
              </a:rPr>
              <a:t>Fête du sport : </a:t>
            </a:r>
            <a:r>
              <a:rPr lang="fr-FR" sz="1400" dirty="0">
                <a:solidFill>
                  <a:schemeClr val="accent6"/>
                </a:solidFill>
              </a:rPr>
              <a:t>Dimanche 15 mai 2022</a:t>
            </a:r>
          </a:p>
          <a:p>
            <a:endParaRPr lang="fr-FR" sz="1400" dirty="0">
              <a:solidFill>
                <a:schemeClr val="accent6"/>
              </a:solidFill>
            </a:endParaRPr>
          </a:p>
          <a:p>
            <a:r>
              <a:rPr lang="fr-FR" sz="1400" dirty="0"/>
              <a:t>Finale Coupe du Val d’Oise – Anne Laurent et IC Vétéran </a:t>
            </a:r>
          </a:p>
          <a:p>
            <a:pPr lvl="1"/>
            <a:r>
              <a:rPr lang="fr-FR" sz="1400" dirty="0"/>
              <a:t>Samedi 21 et Dimanche 22 mai 2022</a:t>
            </a:r>
          </a:p>
          <a:p>
            <a:endParaRPr lang="fr-FR" sz="1400" dirty="0"/>
          </a:p>
          <a:p>
            <a:r>
              <a:rPr lang="fr-FR" sz="1400" dirty="0"/>
              <a:t>Tournoi individuel : </a:t>
            </a:r>
            <a:r>
              <a:rPr lang="fr-FR" sz="1400" dirty="0">
                <a:solidFill>
                  <a:schemeClr val="accent6"/>
                </a:solidFill>
              </a:rPr>
              <a:t>Dimanche 19 juin 2022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BBD397A-EBA0-4FB1-85FA-53F548EFA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s rendez-vous Badminton à HERBLAY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BD0FDC2B-09A0-416A-8FAF-A30B78C2E9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12</a:t>
            </a:fld>
            <a:endParaRPr lang="fr-FR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2DB5A55C-BFDE-4A1F-B2C1-3244FFF922A8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23/10/2021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64670130-6A53-4A2F-86E2-5E6F848B7B6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dirty="0"/>
              <a:t>Assemblée Générale Ordinaire - 16 11 2017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189456D0-E6F4-4C0A-8D4F-BD78886CE75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3373" y="78988"/>
            <a:ext cx="967454" cy="9674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2636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3DD2C9D5-4694-47F0-98A1-D3D7CBBC32C6}"/>
              </a:ext>
            </a:extLst>
          </p:cNvPr>
          <p:cNvSpPr/>
          <p:nvPr/>
        </p:nvSpPr>
        <p:spPr>
          <a:xfrm>
            <a:off x="395536" y="4802294"/>
            <a:ext cx="4721753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3F779F33-A71E-4815-BF7E-B65966244C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4892180"/>
            <a:ext cx="4389115" cy="732444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/>
          <a:p>
            <a:pPr indent="0" algn="ctr">
              <a:buNone/>
            </a:pPr>
            <a:r>
              <a:rPr lang="fr-FR" dirty="0"/>
              <a:t>DU 12 AU 14 NOVEMBRE 2021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E2E2C75C-6356-4871-B9DF-33C3018FCE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366" y="1495801"/>
            <a:ext cx="3235098" cy="2950385"/>
          </a:xfrm>
          <a:ln w="76200">
            <a:solidFill>
              <a:srgbClr val="FF0000"/>
            </a:solidFill>
          </a:ln>
        </p:spPr>
        <p:txBody>
          <a:bodyPr>
            <a:normAutofit fontScale="90000"/>
          </a:bodyPr>
          <a:lstStyle/>
          <a:p>
            <a:pPr algn="ctr"/>
            <a:r>
              <a:rPr lang="fr-FR" dirty="0">
                <a:solidFill>
                  <a:srgbClr val="FF0000"/>
                </a:solidFill>
              </a:rPr>
              <a:t>Encouragements </a:t>
            </a:r>
            <a:br>
              <a:rPr lang="fr-FR" dirty="0">
                <a:solidFill>
                  <a:srgbClr val="FF0000"/>
                </a:solidFill>
              </a:rPr>
            </a:br>
            <a:br>
              <a:rPr lang="fr-FR" dirty="0">
                <a:solidFill>
                  <a:srgbClr val="FF0000"/>
                </a:solidFill>
              </a:rPr>
            </a:br>
            <a:r>
              <a:rPr lang="fr-FR" dirty="0">
                <a:solidFill>
                  <a:srgbClr val="FF0000"/>
                </a:solidFill>
              </a:rPr>
              <a:t>A </a:t>
            </a:r>
            <a:br>
              <a:rPr lang="fr-FR" dirty="0">
                <a:solidFill>
                  <a:srgbClr val="FF0000"/>
                </a:solidFill>
              </a:rPr>
            </a:br>
            <a:br>
              <a:rPr lang="fr-FR" dirty="0">
                <a:solidFill>
                  <a:srgbClr val="FF0000"/>
                </a:solidFill>
              </a:rPr>
            </a:br>
            <a:r>
              <a:rPr lang="fr-FR" dirty="0">
                <a:solidFill>
                  <a:srgbClr val="FF0000"/>
                </a:solidFill>
              </a:rPr>
              <a:t>Max VARIN </a:t>
            </a:r>
            <a:br>
              <a:rPr lang="fr-FR" dirty="0">
                <a:solidFill>
                  <a:srgbClr val="FF0000"/>
                </a:solidFill>
              </a:rPr>
            </a:br>
            <a:br>
              <a:rPr lang="fr-FR" dirty="0">
                <a:solidFill>
                  <a:srgbClr val="FF0000"/>
                </a:solidFill>
              </a:rPr>
            </a:br>
            <a:r>
              <a:rPr lang="fr-FR" dirty="0">
                <a:solidFill>
                  <a:srgbClr val="FF0000"/>
                </a:solidFill>
              </a:rPr>
              <a:t>et </a:t>
            </a:r>
            <a:br>
              <a:rPr lang="fr-FR" dirty="0">
                <a:solidFill>
                  <a:srgbClr val="FF0000"/>
                </a:solidFill>
              </a:rPr>
            </a:br>
            <a:br>
              <a:rPr lang="fr-FR" dirty="0">
                <a:solidFill>
                  <a:srgbClr val="FF0000"/>
                </a:solidFill>
              </a:rPr>
            </a:br>
            <a:r>
              <a:rPr lang="fr-FR" dirty="0">
                <a:solidFill>
                  <a:srgbClr val="FF0000"/>
                </a:solidFill>
              </a:rPr>
              <a:t>Alain FOUYE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D52B20AF-3F5F-477C-972C-74BFF0A4357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13</a:t>
            </a:fld>
            <a:endParaRPr lang="fr-FR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2B57AE94-9C62-4EC6-865A-14B46261C8A9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23/10/2021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A92CECA1-1AC5-4C6F-93D0-D9B3FC5C6CA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dirty="0"/>
              <a:t>Assemblée Générale Ordinaire - 16 11 2017</a:t>
            </a:r>
          </a:p>
        </p:txBody>
      </p:sp>
      <p:pic>
        <p:nvPicPr>
          <p:cNvPr id="8" name="Image 7" descr="Une image contenant texte&#10;&#10;Description générée automatiquement">
            <a:extLst>
              <a:ext uri="{FF2B5EF4-FFF2-40B4-BE49-F238E27FC236}">
                <a16:creationId xmlns:a16="http://schemas.microsoft.com/office/drawing/2014/main" id="{FA40F619-EFD3-42EC-B2E5-E9E65F0C35D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738" y="296310"/>
            <a:ext cx="5117830" cy="2398983"/>
          </a:xfrm>
          <a:prstGeom prst="rect">
            <a:avLst/>
          </a:prstGeom>
        </p:spPr>
      </p:pic>
      <p:pic>
        <p:nvPicPr>
          <p:cNvPr id="12" name="Image 11" descr="Une image contenant texte&#10;&#10;Description générée automatiquement">
            <a:extLst>
              <a:ext uri="{FF2B5EF4-FFF2-40B4-BE49-F238E27FC236}">
                <a16:creationId xmlns:a16="http://schemas.microsoft.com/office/drawing/2014/main" id="{47521ABF-84A9-4528-86A9-644C11BC46A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2667532"/>
            <a:ext cx="4721753" cy="2070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05820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sz="2800" dirty="0"/>
              <a:t> QUESTIONS SUR LE RAPPORT </a:t>
            </a:r>
          </a:p>
          <a:p>
            <a:pPr>
              <a:buNone/>
            </a:pPr>
            <a:r>
              <a:rPr lang="fr-FR" sz="2800" dirty="0"/>
              <a:t>             MORAL DU PRESIDENT ?</a:t>
            </a:r>
          </a:p>
          <a:p>
            <a:endParaRPr lang="fr-FR" sz="2800" dirty="0"/>
          </a:p>
          <a:p>
            <a:endParaRPr lang="fr-FR" sz="2800" dirty="0"/>
          </a:p>
          <a:p>
            <a:endParaRPr lang="fr-FR" sz="2800" dirty="0"/>
          </a:p>
          <a:p>
            <a:endParaRPr lang="fr-FR" sz="2800" dirty="0"/>
          </a:p>
          <a:p>
            <a:r>
              <a:rPr lang="fr-FR" sz="2800" dirty="0"/>
              <a:t> APPROBATION ?</a:t>
            </a:r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YNTHESE 2020 - 2021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14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E43DA07-AC1A-402B-9760-FD886FBEF874}" type="datetime1">
              <a:rPr lang="fr-FR" smtClean="0"/>
              <a:pPr/>
              <a:t>23/10/2021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DCBEDDA7-F9E9-4CE9-8ADB-007FE473FF5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5832" y="14007"/>
            <a:ext cx="1552353" cy="155235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432603" y="180795"/>
            <a:ext cx="6419379" cy="558059"/>
          </a:xfrm>
        </p:spPr>
        <p:txBody>
          <a:bodyPr/>
          <a:lstStyle/>
          <a:p>
            <a:pPr>
              <a:defRPr/>
            </a:pPr>
            <a:endParaRPr lang="fr-FR" dirty="0">
              <a:ea typeface="+mj-ea"/>
            </a:endParaRPr>
          </a:p>
        </p:txBody>
      </p:sp>
      <p:sp>
        <p:nvSpPr>
          <p:cNvPr id="12292" name="Espace réservé de la date 4"/>
          <p:cNvSpPr>
            <a:spLocks noGrp="1"/>
          </p:cNvSpPr>
          <p:nvPr>
            <p:ph type="dt" sz="half" idx="12"/>
          </p:nvPr>
        </p:nvSpPr>
        <p:spPr bwMode="auto">
          <a:xfrm>
            <a:off x="179388" y="6524625"/>
            <a:ext cx="847725" cy="222250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264A5824-8DEB-47E7-A6EE-135E0FEEF5F5}" type="datetime1">
              <a:rPr lang="fr-FR" sz="1000" smtClean="0">
                <a:solidFill>
                  <a:schemeClr val="bg1"/>
                </a:solidFill>
              </a:rPr>
              <a:pPr eaLnBrk="1" hangingPunct="1"/>
              <a:t>23/10/2021</a:t>
            </a:fld>
            <a:endParaRPr lang="fr-FR" sz="1000" dirty="0">
              <a:solidFill>
                <a:schemeClr val="bg1"/>
              </a:solidFill>
            </a:endParaRPr>
          </a:p>
        </p:txBody>
      </p:sp>
      <p:graphicFrame>
        <p:nvGraphicFramePr>
          <p:cNvPr id="2" name="Diagramme 1"/>
          <p:cNvGraphicFramePr/>
          <p:nvPr/>
        </p:nvGraphicFramePr>
        <p:xfrm>
          <a:off x="532015" y="1251914"/>
          <a:ext cx="8611985" cy="48814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Ellipse 4"/>
          <p:cNvSpPr/>
          <p:nvPr/>
        </p:nvSpPr>
        <p:spPr>
          <a:xfrm>
            <a:off x="1074887" y="2396002"/>
            <a:ext cx="709907" cy="751411"/>
          </a:xfrm>
          <a:prstGeom prst="ellipse">
            <a:avLst/>
          </a:prstGeom>
          <a:solidFill>
            <a:schemeClr val="accent3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246A2597-B909-4D6F-BD20-ACB6FC58A4B0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8725" y="0"/>
            <a:ext cx="1185531" cy="1185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3486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AE15D898-A553-4326-8A98-0BFD9DA58E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27" y="260648"/>
            <a:ext cx="8354505" cy="537258"/>
          </a:xfrm>
        </p:spPr>
        <p:txBody>
          <a:bodyPr>
            <a:normAutofit/>
          </a:bodyPr>
          <a:lstStyle/>
          <a:p>
            <a:r>
              <a:rPr lang="fr-FR" sz="1600" dirty="0"/>
              <a:t>Budget : </a:t>
            </a:r>
            <a:r>
              <a:rPr lang="fr-FR" sz="1600" dirty="0">
                <a:solidFill>
                  <a:srgbClr val="FF0000"/>
                </a:solidFill>
              </a:rPr>
              <a:t>70 350 €  </a:t>
            </a:r>
            <a:r>
              <a:rPr lang="fr-FR" sz="1600" dirty="0">
                <a:solidFill>
                  <a:schemeClr val="tx1"/>
                </a:solidFill>
              </a:rPr>
              <a:t>REALISEES : </a:t>
            </a:r>
            <a:r>
              <a:rPr lang="fr-FR" sz="1600" dirty="0">
                <a:solidFill>
                  <a:srgbClr val="FF0000"/>
                </a:solidFill>
              </a:rPr>
              <a:t>67 623 €   </a:t>
            </a:r>
            <a:r>
              <a:rPr lang="fr-FR" sz="1600" dirty="0">
                <a:solidFill>
                  <a:schemeClr val="tx1"/>
                </a:solidFill>
              </a:rPr>
              <a:t>RESULTAT :</a:t>
            </a:r>
            <a:r>
              <a:rPr lang="fr-FR" sz="1600" dirty="0">
                <a:solidFill>
                  <a:srgbClr val="FF0000"/>
                </a:solidFill>
              </a:rPr>
              <a:t> </a:t>
            </a:r>
            <a:r>
              <a:rPr lang="fr-FR" sz="1600" dirty="0">
                <a:solidFill>
                  <a:srgbClr val="00B050"/>
                </a:solidFill>
              </a:rPr>
              <a:t>+ 258 €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9D138788-D9D9-4452-8F2B-084057F3A1C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16</a:t>
            </a:fld>
            <a:endParaRPr lang="fr-FR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B0B84F00-DFFD-4298-9902-4C02CBDA2FC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23/10/2021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841718BE-0A71-45BA-A960-4B5F019212B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dirty="0"/>
              <a:t>Assemblée Générale Ordinaire - 16 11 2017</a:t>
            </a:r>
          </a:p>
        </p:txBody>
      </p:sp>
      <p:graphicFrame>
        <p:nvGraphicFramePr>
          <p:cNvPr id="10" name="Graphique 9">
            <a:extLst>
              <a:ext uri="{FF2B5EF4-FFF2-40B4-BE49-F238E27FC236}">
                <a16:creationId xmlns:a16="http://schemas.microsoft.com/office/drawing/2014/main" id="{74452573-EB16-46D8-AE99-444ABBD75AF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7099480"/>
              </p:ext>
            </p:extLst>
          </p:nvPr>
        </p:nvGraphicFramePr>
        <p:xfrm>
          <a:off x="797442" y="893135"/>
          <a:ext cx="7623544" cy="5029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7" name="Image 6">
            <a:extLst>
              <a:ext uri="{FF2B5EF4-FFF2-40B4-BE49-F238E27FC236}">
                <a16:creationId xmlns:a16="http://schemas.microsoft.com/office/drawing/2014/main" id="{D6D6E31B-3467-4F50-AE12-DB62BDBBEA6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1890" y="0"/>
            <a:ext cx="1185531" cy="1185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4225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AE15D898-A553-4326-8A98-0BFD9DA58E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27" y="260648"/>
            <a:ext cx="8354505" cy="537258"/>
          </a:xfrm>
        </p:spPr>
        <p:txBody>
          <a:bodyPr>
            <a:normAutofit/>
          </a:bodyPr>
          <a:lstStyle/>
          <a:p>
            <a:r>
              <a:rPr lang="fr-FR" sz="1600" dirty="0"/>
              <a:t>Budget : </a:t>
            </a:r>
            <a:r>
              <a:rPr lang="fr-FR" sz="1600" dirty="0">
                <a:solidFill>
                  <a:srgbClr val="FF0000"/>
                </a:solidFill>
              </a:rPr>
              <a:t>70 350 €  </a:t>
            </a:r>
            <a:r>
              <a:rPr lang="fr-FR" sz="1600" dirty="0">
                <a:solidFill>
                  <a:schemeClr val="tx1"/>
                </a:solidFill>
              </a:rPr>
              <a:t>REALISEES : </a:t>
            </a:r>
            <a:r>
              <a:rPr lang="fr-FR" sz="1600" dirty="0">
                <a:solidFill>
                  <a:srgbClr val="FF0000"/>
                </a:solidFill>
              </a:rPr>
              <a:t>67 623 € </a:t>
            </a:r>
            <a:r>
              <a:rPr lang="fr-FR" sz="1600" dirty="0">
                <a:solidFill>
                  <a:schemeClr val="tx1"/>
                </a:solidFill>
              </a:rPr>
              <a:t>RESULTAT :</a:t>
            </a:r>
            <a:r>
              <a:rPr lang="fr-FR" sz="1600" dirty="0">
                <a:solidFill>
                  <a:srgbClr val="FF0000"/>
                </a:solidFill>
              </a:rPr>
              <a:t> </a:t>
            </a:r>
            <a:r>
              <a:rPr lang="fr-FR" sz="1600" dirty="0">
                <a:solidFill>
                  <a:srgbClr val="00B050"/>
                </a:solidFill>
              </a:rPr>
              <a:t>+ 258 €</a:t>
            </a:r>
            <a:endParaRPr lang="fr-FR" sz="1600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9D138788-D9D9-4452-8F2B-084057F3A1C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17</a:t>
            </a:fld>
            <a:endParaRPr lang="fr-FR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B0B84F00-DFFD-4298-9902-4C02CBDA2FC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23/10/2021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841718BE-0A71-45BA-A960-4B5F019212B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dirty="0"/>
              <a:t>Assemblée Générale Ordinaire - 16 11 2017</a:t>
            </a:r>
          </a:p>
        </p:txBody>
      </p:sp>
      <p:graphicFrame>
        <p:nvGraphicFramePr>
          <p:cNvPr id="10" name="Graphique 9">
            <a:extLst>
              <a:ext uri="{FF2B5EF4-FFF2-40B4-BE49-F238E27FC236}">
                <a16:creationId xmlns:a16="http://schemas.microsoft.com/office/drawing/2014/main" id="{74452573-EB16-46D8-AE99-444ABBD75AF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26607"/>
              </p:ext>
            </p:extLst>
          </p:nvPr>
        </p:nvGraphicFramePr>
        <p:xfrm>
          <a:off x="760228" y="1058554"/>
          <a:ext cx="7623544" cy="5029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12" name="Image 11">
            <a:extLst>
              <a:ext uri="{FF2B5EF4-FFF2-40B4-BE49-F238E27FC236}">
                <a16:creationId xmlns:a16="http://schemas.microsoft.com/office/drawing/2014/main" id="{CF5286D1-A43A-4739-902F-387D0761D41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1890" y="0"/>
            <a:ext cx="1185531" cy="1185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89712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AE15D898-A553-4326-8A98-0BFD9DA58E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27" y="260648"/>
            <a:ext cx="8354505" cy="537258"/>
          </a:xfrm>
        </p:spPr>
        <p:txBody>
          <a:bodyPr>
            <a:normAutofit/>
          </a:bodyPr>
          <a:lstStyle/>
          <a:p>
            <a:r>
              <a:rPr lang="fr-FR" sz="1600" dirty="0"/>
              <a:t>Budget : </a:t>
            </a:r>
            <a:r>
              <a:rPr lang="fr-FR" sz="1600" dirty="0">
                <a:solidFill>
                  <a:srgbClr val="FF0000"/>
                </a:solidFill>
              </a:rPr>
              <a:t>70 350 €  </a:t>
            </a:r>
            <a:r>
              <a:rPr lang="fr-FR" sz="1600" dirty="0">
                <a:solidFill>
                  <a:schemeClr val="tx1"/>
                </a:solidFill>
              </a:rPr>
              <a:t>REALISEES : </a:t>
            </a:r>
            <a:r>
              <a:rPr lang="fr-FR" sz="1600" dirty="0">
                <a:solidFill>
                  <a:srgbClr val="FF0000"/>
                </a:solidFill>
              </a:rPr>
              <a:t>67 881 € </a:t>
            </a:r>
            <a:r>
              <a:rPr lang="fr-FR" sz="1600" dirty="0">
                <a:solidFill>
                  <a:schemeClr val="tx1"/>
                </a:solidFill>
              </a:rPr>
              <a:t>RESULTAT :</a:t>
            </a:r>
            <a:r>
              <a:rPr lang="fr-FR" sz="1600" dirty="0">
                <a:solidFill>
                  <a:srgbClr val="FF0000"/>
                </a:solidFill>
              </a:rPr>
              <a:t> </a:t>
            </a:r>
            <a:r>
              <a:rPr lang="fr-FR" sz="1600" dirty="0">
                <a:solidFill>
                  <a:srgbClr val="00B050"/>
                </a:solidFill>
              </a:rPr>
              <a:t>+ 258 €</a:t>
            </a:r>
            <a:endParaRPr lang="fr-FR" sz="1600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9D138788-D9D9-4452-8F2B-084057F3A1C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18</a:t>
            </a:fld>
            <a:endParaRPr lang="fr-FR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B0B84F00-DFFD-4298-9902-4C02CBDA2FC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23/10/2021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841718BE-0A71-45BA-A960-4B5F019212B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dirty="0"/>
              <a:t>Assemblée Générale Ordinaire - 16 11 2017</a:t>
            </a:r>
          </a:p>
        </p:txBody>
      </p:sp>
      <p:graphicFrame>
        <p:nvGraphicFramePr>
          <p:cNvPr id="10" name="Graphique 9">
            <a:extLst>
              <a:ext uri="{FF2B5EF4-FFF2-40B4-BE49-F238E27FC236}">
                <a16:creationId xmlns:a16="http://schemas.microsoft.com/office/drawing/2014/main" id="{74452573-EB16-46D8-AE99-444ABBD75AF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72408991"/>
              </p:ext>
            </p:extLst>
          </p:nvPr>
        </p:nvGraphicFramePr>
        <p:xfrm>
          <a:off x="760228" y="914400"/>
          <a:ext cx="7623544" cy="5029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7" name="Image 6">
            <a:extLst>
              <a:ext uri="{FF2B5EF4-FFF2-40B4-BE49-F238E27FC236}">
                <a16:creationId xmlns:a16="http://schemas.microsoft.com/office/drawing/2014/main" id="{6EF7AE5C-0879-4275-97AF-4E4CCF0A613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1890" y="0"/>
            <a:ext cx="1185531" cy="1185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362630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AE15D898-A553-4326-8A98-0BFD9DA58E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27" y="260648"/>
            <a:ext cx="8354505" cy="537258"/>
          </a:xfrm>
        </p:spPr>
        <p:txBody>
          <a:bodyPr>
            <a:normAutofit/>
          </a:bodyPr>
          <a:lstStyle/>
          <a:p>
            <a:r>
              <a:rPr lang="fr-FR" sz="1600" dirty="0"/>
              <a:t>Budget : </a:t>
            </a:r>
            <a:r>
              <a:rPr lang="fr-FR" sz="1600" dirty="0">
                <a:solidFill>
                  <a:srgbClr val="FF0000"/>
                </a:solidFill>
              </a:rPr>
              <a:t>70 350 €  </a:t>
            </a:r>
            <a:r>
              <a:rPr lang="fr-FR" sz="1600" dirty="0">
                <a:solidFill>
                  <a:schemeClr val="tx1"/>
                </a:solidFill>
              </a:rPr>
              <a:t>REALISEES : </a:t>
            </a:r>
            <a:r>
              <a:rPr lang="fr-FR" sz="1600" dirty="0">
                <a:solidFill>
                  <a:srgbClr val="FF0000"/>
                </a:solidFill>
              </a:rPr>
              <a:t>67 881 € </a:t>
            </a:r>
            <a:r>
              <a:rPr lang="fr-FR" sz="1600" dirty="0">
                <a:solidFill>
                  <a:schemeClr val="tx1"/>
                </a:solidFill>
              </a:rPr>
              <a:t>RESULTAT :</a:t>
            </a:r>
            <a:r>
              <a:rPr lang="fr-FR" sz="1600" dirty="0">
                <a:solidFill>
                  <a:srgbClr val="FF0000"/>
                </a:solidFill>
              </a:rPr>
              <a:t> </a:t>
            </a:r>
            <a:r>
              <a:rPr lang="fr-FR" sz="1600" dirty="0">
                <a:solidFill>
                  <a:srgbClr val="00B050"/>
                </a:solidFill>
              </a:rPr>
              <a:t>+ 258 €</a:t>
            </a:r>
            <a:endParaRPr lang="fr-FR" sz="1600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9D138788-D9D9-4452-8F2B-084057F3A1C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19</a:t>
            </a:fld>
            <a:endParaRPr lang="fr-FR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B0B84F00-DFFD-4298-9902-4C02CBDA2FC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23/10/2021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841718BE-0A71-45BA-A960-4B5F019212B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dirty="0"/>
              <a:t>Assemblée Générale Ordinaire - 16 11 2017</a:t>
            </a:r>
          </a:p>
        </p:txBody>
      </p:sp>
      <p:graphicFrame>
        <p:nvGraphicFramePr>
          <p:cNvPr id="10" name="Graphique 9">
            <a:extLst>
              <a:ext uri="{FF2B5EF4-FFF2-40B4-BE49-F238E27FC236}">
                <a16:creationId xmlns:a16="http://schemas.microsoft.com/office/drawing/2014/main" id="{74452573-EB16-46D8-AE99-444ABBD75AF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70934663"/>
              </p:ext>
            </p:extLst>
          </p:nvPr>
        </p:nvGraphicFramePr>
        <p:xfrm>
          <a:off x="727998" y="993989"/>
          <a:ext cx="8078059" cy="52631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7" name="Image 6">
            <a:extLst>
              <a:ext uri="{FF2B5EF4-FFF2-40B4-BE49-F238E27FC236}">
                <a16:creationId xmlns:a16="http://schemas.microsoft.com/office/drawing/2014/main" id="{2D38CA26-330D-4130-B8CD-4D5A327413D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1890" y="0"/>
            <a:ext cx="1185531" cy="1185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37747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A2FC7FE8-46B0-4F45-A2CA-794C2D6E27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6239" y="468926"/>
            <a:ext cx="5207424" cy="2416244"/>
          </a:xfrm>
          <a:prstGeom prst="rect">
            <a:avLst/>
          </a:prstGeom>
        </p:spPr>
      </p:pic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4FBE4E1-B893-4102-B603-B5CFD131740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2</a:t>
            </a:fld>
            <a:endParaRPr lang="fr-FR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7A1C7675-E5EA-4DC0-8597-C2665C9C485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23/10/2021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20AD3853-C9EE-4243-942A-E221A29D4E2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EE9158E2-9B05-4E06-BBBC-06041DF054A8}"/>
              </a:ext>
            </a:extLst>
          </p:cNvPr>
          <p:cNvSpPr txBox="1"/>
          <p:nvPr/>
        </p:nvSpPr>
        <p:spPr>
          <a:xfrm>
            <a:off x="4572000" y="3179473"/>
            <a:ext cx="4042611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solidFill>
                  <a:schemeClr val="accent2"/>
                </a:solidFill>
              </a:rPr>
              <a:t>Responsable du Service des Sports</a:t>
            </a:r>
          </a:p>
          <a:p>
            <a:endParaRPr lang="fr-FR" dirty="0"/>
          </a:p>
          <a:p>
            <a:pPr algn="ctr"/>
            <a:r>
              <a:rPr lang="fr-FR" dirty="0">
                <a:solidFill>
                  <a:schemeClr val="accent1"/>
                </a:solidFill>
              </a:rPr>
              <a:t>HERBLAY SUR SEINE  </a:t>
            </a:r>
            <a:r>
              <a:rPr lang="fr-FR" dirty="0"/>
              <a:t>Label Ville Active et Sportive, Label Terre de Jeux Paris 2024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DC4D82AC-9F98-45CD-BEF5-9F9862C88D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3463" y="3539986"/>
            <a:ext cx="2174619" cy="2416243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C12F185-D525-4514-A83F-5324F66839B8}"/>
              </a:ext>
            </a:extLst>
          </p:cNvPr>
          <p:cNvSpPr/>
          <p:nvPr/>
        </p:nvSpPr>
        <p:spPr>
          <a:xfrm>
            <a:off x="2843868" y="1669409"/>
            <a:ext cx="738231" cy="3355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0168294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>
          <a:xfrm>
            <a:off x="342928" y="1277166"/>
            <a:ext cx="8424936" cy="4964608"/>
          </a:xfrm>
        </p:spPr>
        <p:txBody>
          <a:bodyPr/>
          <a:lstStyle/>
          <a:p>
            <a:pPr indent="0">
              <a:buNone/>
            </a:pPr>
            <a:endParaRPr lang="fr-FR" sz="2800" dirty="0"/>
          </a:p>
          <a:p>
            <a:pPr indent="0">
              <a:buNone/>
            </a:pPr>
            <a:endParaRPr lang="fr-FR" sz="2800" dirty="0"/>
          </a:p>
          <a:p>
            <a:r>
              <a:rPr lang="fr-FR" sz="2800" dirty="0"/>
              <a:t>QUESTIONS SUR LE RAPPORT </a:t>
            </a:r>
          </a:p>
          <a:p>
            <a:pPr>
              <a:buNone/>
            </a:pPr>
            <a:r>
              <a:rPr lang="fr-FR" sz="2800" dirty="0"/>
              <a:t>             FINANCIER 2020 – 2021 ?</a:t>
            </a:r>
          </a:p>
          <a:p>
            <a:pPr indent="0">
              <a:buNone/>
            </a:pPr>
            <a:endParaRPr lang="fr-FR" sz="2800" dirty="0"/>
          </a:p>
          <a:p>
            <a:endParaRPr lang="fr-FR" sz="2800" dirty="0"/>
          </a:p>
          <a:p>
            <a:r>
              <a:rPr lang="fr-FR" sz="2400" dirty="0"/>
              <a:t>APPROBATION DES COMPTES 2020 – 2021?</a:t>
            </a:r>
            <a:endParaRPr lang="fr-FR" sz="1400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Rapport financier 2020 - 2021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20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088FA44-73D0-4364-8C0B-E7B1C06F0A28}" type="datetime1">
              <a:rPr lang="fr-FR" smtClean="0"/>
              <a:pPr/>
              <a:t>23/10/2021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36E60098-334D-4405-A919-06C58EA1FA7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1890" y="0"/>
            <a:ext cx="1185531" cy="1185531"/>
          </a:xfrm>
          <a:prstGeom prst="rect">
            <a:avLst/>
          </a:prstGeom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432603" y="180795"/>
            <a:ext cx="6419379" cy="558059"/>
          </a:xfrm>
        </p:spPr>
        <p:txBody>
          <a:bodyPr/>
          <a:lstStyle/>
          <a:p>
            <a:pPr>
              <a:defRPr/>
            </a:pPr>
            <a:endParaRPr lang="fr-FR" dirty="0">
              <a:ea typeface="+mj-ea"/>
            </a:endParaRPr>
          </a:p>
        </p:txBody>
      </p:sp>
      <p:sp>
        <p:nvSpPr>
          <p:cNvPr id="12292" name="Espace réservé de la date 4"/>
          <p:cNvSpPr>
            <a:spLocks noGrp="1"/>
          </p:cNvSpPr>
          <p:nvPr>
            <p:ph type="dt" sz="half" idx="12"/>
          </p:nvPr>
        </p:nvSpPr>
        <p:spPr bwMode="auto">
          <a:xfrm>
            <a:off x="179388" y="6524625"/>
            <a:ext cx="847725" cy="222250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264A5824-8DEB-47E7-A6EE-135E0FEEF5F5}" type="datetime1">
              <a:rPr lang="fr-FR" sz="1000" smtClean="0">
                <a:solidFill>
                  <a:schemeClr val="bg1"/>
                </a:solidFill>
              </a:rPr>
              <a:pPr eaLnBrk="1" hangingPunct="1"/>
              <a:t>23/10/2021</a:t>
            </a:fld>
            <a:endParaRPr lang="fr-FR" sz="1000" dirty="0">
              <a:solidFill>
                <a:schemeClr val="bg1"/>
              </a:solidFill>
            </a:endParaRPr>
          </a:p>
        </p:txBody>
      </p:sp>
      <p:graphicFrame>
        <p:nvGraphicFramePr>
          <p:cNvPr id="2" name="Diagramme 1"/>
          <p:cNvGraphicFramePr/>
          <p:nvPr/>
        </p:nvGraphicFramePr>
        <p:xfrm>
          <a:off x="532015" y="1251914"/>
          <a:ext cx="8611985" cy="48814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Ellipse 4"/>
          <p:cNvSpPr/>
          <p:nvPr/>
        </p:nvSpPr>
        <p:spPr>
          <a:xfrm>
            <a:off x="1212893" y="3316941"/>
            <a:ext cx="709907" cy="751411"/>
          </a:xfrm>
          <a:prstGeom prst="ellipse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FCBC5DA6-5D14-462C-90D1-E2E1C394EC00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1890" y="0"/>
            <a:ext cx="1185531" cy="1185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1713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7D5DBBC5-13E9-4DA3-BA1D-1749A3D64E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28" y="32101"/>
            <a:ext cx="7800972" cy="785794"/>
          </a:xfrm>
        </p:spPr>
        <p:txBody>
          <a:bodyPr/>
          <a:lstStyle/>
          <a:p>
            <a:pPr algn="ctr"/>
            <a:r>
              <a:rPr lang="fr-FR" dirty="0"/>
              <a:t>Les missions du Conseil d’Administration </a:t>
            </a:r>
            <a:br>
              <a:rPr lang="fr-FR" dirty="0"/>
            </a:br>
            <a:r>
              <a:rPr lang="fr-FR" dirty="0">
                <a:solidFill>
                  <a:srgbClr val="FF0000"/>
                </a:solidFill>
              </a:rPr>
              <a:t>12 membres maxi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1C40BBCB-48C3-4B15-B7CB-D636439906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22</a:t>
            </a:fld>
            <a:endParaRPr lang="fr-FR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92B219BC-22D0-4618-9ED2-5C25B06D23DB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23/10/2021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69E2E386-0544-4C84-BF05-8FBB33D5EA8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graphicFrame>
        <p:nvGraphicFramePr>
          <p:cNvPr id="7" name="Diagramme 6">
            <a:extLst>
              <a:ext uri="{FF2B5EF4-FFF2-40B4-BE49-F238E27FC236}">
                <a16:creationId xmlns:a16="http://schemas.microsoft.com/office/drawing/2014/main" id="{B61E2143-7BFC-4B96-820D-B3C400887FB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71045640"/>
              </p:ext>
            </p:extLst>
          </p:nvPr>
        </p:nvGraphicFramePr>
        <p:xfrm>
          <a:off x="1033463" y="849996"/>
          <a:ext cx="7800972" cy="52894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Bulle narrative : rectangle 1">
            <a:extLst>
              <a:ext uri="{FF2B5EF4-FFF2-40B4-BE49-F238E27FC236}">
                <a16:creationId xmlns:a16="http://schemas.microsoft.com/office/drawing/2014/main" id="{10B4D5F5-927B-4202-85BE-7E809E3BF597}"/>
              </a:ext>
            </a:extLst>
          </p:cNvPr>
          <p:cNvSpPr/>
          <p:nvPr/>
        </p:nvSpPr>
        <p:spPr>
          <a:xfrm>
            <a:off x="6164142" y="558411"/>
            <a:ext cx="810826" cy="664333"/>
          </a:xfrm>
          <a:prstGeom prst="wedgeRectCallout">
            <a:avLst>
              <a:gd name="adj1" fmla="val -129197"/>
              <a:gd name="adj2" fmla="val 40396"/>
            </a:avLst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100" dirty="0"/>
              <a:t>Président</a:t>
            </a:r>
          </a:p>
          <a:p>
            <a:pPr algn="ctr"/>
            <a:r>
              <a:rPr lang="fr-FR" sz="1100" dirty="0"/>
              <a:t>Trésorier </a:t>
            </a:r>
          </a:p>
          <a:p>
            <a:pPr algn="ctr"/>
            <a:r>
              <a:rPr lang="fr-FR" sz="1100" dirty="0"/>
              <a:t>Secrétaire </a:t>
            </a:r>
          </a:p>
          <a:p>
            <a:pPr algn="ctr"/>
            <a:endParaRPr lang="fr-FR" sz="1100" dirty="0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7551424-9FC5-4AF8-AB01-10DE2356FC76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1890" y="0"/>
            <a:ext cx="1185531" cy="1185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660942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609600" y="0"/>
            <a:ext cx="7800972" cy="785794"/>
          </a:xfrm>
        </p:spPr>
        <p:txBody>
          <a:bodyPr/>
          <a:lstStyle/>
          <a:p>
            <a:r>
              <a:rPr lang="fr-FR" dirty="0"/>
              <a:t>Situation des MANDATS et CANDIDATURES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23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23/10/2021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72A53D3B-B136-4511-9843-CEF837A958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1344289"/>
              </p:ext>
            </p:extLst>
          </p:nvPr>
        </p:nvGraphicFramePr>
        <p:xfrm>
          <a:off x="609600" y="592501"/>
          <a:ext cx="7143416" cy="56729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96186">
                  <a:extLst>
                    <a:ext uri="{9D8B030D-6E8A-4147-A177-3AD203B41FA5}">
                      <a16:colId xmlns:a16="http://schemas.microsoft.com/office/drawing/2014/main" val="2511919209"/>
                    </a:ext>
                  </a:extLst>
                </a:gridCol>
                <a:gridCol w="1506642">
                  <a:extLst>
                    <a:ext uri="{9D8B030D-6E8A-4147-A177-3AD203B41FA5}">
                      <a16:colId xmlns:a16="http://schemas.microsoft.com/office/drawing/2014/main" val="2785713545"/>
                    </a:ext>
                  </a:extLst>
                </a:gridCol>
                <a:gridCol w="1001414">
                  <a:extLst>
                    <a:ext uri="{9D8B030D-6E8A-4147-A177-3AD203B41FA5}">
                      <a16:colId xmlns:a16="http://schemas.microsoft.com/office/drawing/2014/main" val="669467436"/>
                    </a:ext>
                  </a:extLst>
                </a:gridCol>
                <a:gridCol w="1669022">
                  <a:extLst>
                    <a:ext uri="{9D8B030D-6E8A-4147-A177-3AD203B41FA5}">
                      <a16:colId xmlns:a16="http://schemas.microsoft.com/office/drawing/2014/main" val="3334275659"/>
                    </a:ext>
                  </a:extLst>
                </a:gridCol>
                <a:gridCol w="1084865">
                  <a:extLst>
                    <a:ext uri="{9D8B030D-6E8A-4147-A177-3AD203B41FA5}">
                      <a16:colId xmlns:a16="http://schemas.microsoft.com/office/drawing/2014/main" val="818880393"/>
                    </a:ext>
                  </a:extLst>
                </a:gridCol>
                <a:gridCol w="1385287">
                  <a:extLst>
                    <a:ext uri="{9D8B030D-6E8A-4147-A177-3AD203B41FA5}">
                      <a16:colId xmlns:a16="http://schemas.microsoft.com/office/drawing/2014/main" val="1568950499"/>
                    </a:ext>
                  </a:extLst>
                </a:gridCol>
              </a:tblGrid>
              <a:tr h="489797">
                <a:tc>
                  <a:txBody>
                    <a:bodyPr/>
                    <a:lstStyle/>
                    <a:p>
                      <a:pPr algn="ctr" fontAlgn="b"/>
                      <a:endParaRPr lang="fr-FR" sz="18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u="none" strike="noStrike" dirty="0">
                          <a:effectLst/>
                          <a:latin typeface="+mj-lt"/>
                        </a:rPr>
                        <a:t>Prénom</a:t>
                      </a:r>
                      <a:endParaRPr lang="fr-FR" sz="18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u="none" strike="noStrike" dirty="0">
                          <a:effectLst/>
                          <a:latin typeface="+mj-lt"/>
                        </a:rPr>
                        <a:t>Nom</a:t>
                      </a:r>
                      <a:endParaRPr lang="fr-FR" sz="18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u="none" strike="noStrike" dirty="0">
                          <a:effectLst/>
                          <a:latin typeface="+mj-lt"/>
                        </a:rPr>
                        <a:t>Rôle</a:t>
                      </a:r>
                      <a:endParaRPr lang="fr-FR" sz="18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u="none" strike="noStrike" dirty="0">
                          <a:effectLst/>
                          <a:latin typeface="+mj-lt"/>
                        </a:rPr>
                        <a:t>Elu jusqu'en</a:t>
                      </a:r>
                      <a:endParaRPr lang="fr-FR" sz="18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u="none" strike="noStrike" dirty="0">
                          <a:effectLst/>
                          <a:latin typeface="+mj-lt"/>
                        </a:rPr>
                        <a:t>Commentaires</a:t>
                      </a:r>
                      <a:endParaRPr lang="fr-FR" sz="18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1620299"/>
                  </a:ext>
                </a:extLst>
              </a:tr>
              <a:tr h="319677">
                <a:tc>
                  <a:txBody>
                    <a:bodyPr/>
                    <a:lstStyle/>
                    <a:p>
                      <a:pPr algn="ctr" fontAlgn="ctr"/>
                      <a:endParaRPr lang="fr-FR" sz="1200" u="none" strike="noStrike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illes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ASTEL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ice -Président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 se représente pas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62280"/>
                  </a:ext>
                </a:extLst>
              </a:tr>
              <a:tr h="319677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hilippe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ERISIE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ésiden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andidat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84844302"/>
                  </a:ext>
                </a:extLst>
              </a:tr>
              <a:tr h="319677"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ristoph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ROMENT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dministrateur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 se représente pas</a:t>
                      </a:r>
                    </a:p>
                    <a:p>
                      <a:pPr algn="ctr" fontAlgn="ctr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3820339"/>
                  </a:ext>
                </a:extLst>
              </a:tr>
              <a:tr h="319677"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athali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STRESS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ecrétair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émission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745750"/>
                  </a:ext>
                </a:extLst>
              </a:tr>
              <a:tr h="319677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ébastien 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ATELIER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dministrateur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2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1001881"/>
                  </a:ext>
                </a:extLst>
              </a:tr>
              <a:tr h="319677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hilippe 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OURY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dministrateur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022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9513248"/>
                  </a:ext>
                </a:extLst>
              </a:tr>
              <a:tr h="319677"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ngélique 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ENAULT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dministrateur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02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Démission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0056296"/>
                  </a:ext>
                </a:extLst>
              </a:tr>
              <a:tr h="319677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astien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ILLIERS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dministrateur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2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429236"/>
                  </a:ext>
                </a:extLst>
              </a:tr>
              <a:tr h="319677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émie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GARCIA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dministrateur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3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437824"/>
                  </a:ext>
                </a:extLst>
              </a:tr>
              <a:tr h="319677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aurent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RICOUT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dministrateur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3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091914"/>
                  </a:ext>
                </a:extLst>
              </a:tr>
              <a:tr h="319677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lain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ATHELIN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ésorier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3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3991730"/>
                  </a:ext>
                </a:extLst>
              </a:tr>
              <a:tr h="319677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lain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OURINEL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dministrateur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3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6198521"/>
                  </a:ext>
                </a:extLst>
              </a:tr>
              <a:tr h="319677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fr-F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0931512"/>
                  </a:ext>
                </a:extLst>
              </a:tr>
              <a:tr h="319677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fr-F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7849540"/>
                  </a:ext>
                </a:extLst>
              </a:tr>
              <a:tr h="319677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fr-F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2172446"/>
                  </a:ext>
                </a:extLst>
              </a:tr>
              <a:tr h="319677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fr-F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226738"/>
                  </a:ext>
                </a:extLst>
              </a:tr>
            </a:tbl>
          </a:graphicData>
        </a:graphic>
      </p:graphicFrame>
      <p:pic>
        <p:nvPicPr>
          <p:cNvPr id="7" name="Image 6">
            <a:extLst>
              <a:ext uri="{FF2B5EF4-FFF2-40B4-BE49-F238E27FC236}">
                <a16:creationId xmlns:a16="http://schemas.microsoft.com/office/drawing/2014/main" id="{A08AC590-69DB-4F9D-B7EE-96BA34137EB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1890" y="0"/>
            <a:ext cx="1185531" cy="1185531"/>
          </a:xfrm>
          <a:prstGeom prst="rect">
            <a:avLst/>
          </a:prstGeom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432603" y="180795"/>
            <a:ext cx="6419379" cy="558059"/>
          </a:xfrm>
        </p:spPr>
        <p:txBody>
          <a:bodyPr/>
          <a:lstStyle/>
          <a:p>
            <a:pPr>
              <a:defRPr/>
            </a:pPr>
            <a:endParaRPr lang="fr-FR" dirty="0">
              <a:ea typeface="+mj-ea"/>
            </a:endParaRPr>
          </a:p>
        </p:txBody>
      </p:sp>
      <p:sp>
        <p:nvSpPr>
          <p:cNvPr id="12292" name="Espace réservé de la date 4"/>
          <p:cNvSpPr>
            <a:spLocks noGrp="1"/>
          </p:cNvSpPr>
          <p:nvPr>
            <p:ph type="dt" sz="half" idx="12"/>
          </p:nvPr>
        </p:nvSpPr>
        <p:spPr bwMode="auto">
          <a:xfrm>
            <a:off x="179388" y="6524625"/>
            <a:ext cx="847725" cy="222250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264A5824-8DEB-47E7-A6EE-135E0FEEF5F5}" type="datetime1">
              <a:rPr lang="fr-FR" sz="1000" smtClean="0">
                <a:solidFill>
                  <a:schemeClr val="bg1"/>
                </a:solidFill>
              </a:rPr>
              <a:pPr eaLnBrk="1" hangingPunct="1"/>
              <a:t>23/10/2021</a:t>
            </a:fld>
            <a:endParaRPr lang="fr-FR" sz="1000" dirty="0">
              <a:solidFill>
                <a:schemeClr val="bg1"/>
              </a:solidFill>
            </a:endParaRPr>
          </a:p>
        </p:txBody>
      </p:sp>
      <p:graphicFrame>
        <p:nvGraphicFramePr>
          <p:cNvPr id="2" name="Diagramme 1"/>
          <p:cNvGraphicFramePr/>
          <p:nvPr/>
        </p:nvGraphicFramePr>
        <p:xfrm>
          <a:off x="532015" y="1251914"/>
          <a:ext cx="8611985" cy="48814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Ellipse 4"/>
          <p:cNvSpPr/>
          <p:nvPr/>
        </p:nvSpPr>
        <p:spPr>
          <a:xfrm>
            <a:off x="1064035" y="4235436"/>
            <a:ext cx="709907" cy="751411"/>
          </a:xfrm>
          <a:prstGeom prst="ellipse">
            <a:avLst/>
          </a:prstGeom>
          <a:solidFill>
            <a:schemeClr val="accent5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60B0C96F-39E8-4477-8314-1C3704623090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1890" y="0"/>
            <a:ext cx="1185531" cy="1185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3616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AE15D898-A553-4326-8A98-0BFD9DA58E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27" y="260648"/>
            <a:ext cx="8354505" cy="537258"/>
          </a:xfrm>
        </p:spPr>
        <p:txBody>
          <a:bodyPr>
            <a:normAutofit/>
          </a:bodyPr>
          <a:lstStyle/>
          <a:p>
            <a:r>
              <a:rPr lang="fr-FR" sz="1600" dirty="0"/>
              <a:t>Budget : </a:t>
            </a:r>
            <a:r>
              <a:rPr lang="fr-FR" sz="1600" dirty="0">
                <a:solidFill>
                  <a:srgbClr val="FF0000"/>
                </a:solidFill>
              </a:rPr>
              <a:t>75 530 €</a:t>
            </a:r>
            <a:endParaRPr lang="fr-FR" sz="1600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9D138788-D9D9-4452-8F2B-084057F3A1C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25</a:t>
            </a:fld>
            <a:endParaRPr lang="fr-FR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B0B84F00-DFFD-4298-9902-4C02CBDA2FC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23/10/2021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841718BE-0A71-45BA-A960-4B5F019212B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dirty="0"/>
              <a:t>Assemblée Générale Ordinaire - 16 11 2017</a:t>
            </a:r>
          </a:p>
        </p:txBody>
      </p:sp>
      <p:graphicFrame>
        <p:nvGraphicFramePr>
          <p:cNvPr id="10" name="Graphique 9">
            <a:extLst>
              <a:ext uri="{FF2B5EF4-FFF2-40B4-BE49-F238E27FC236}">
                <a16:creationId xmlns:a16="http://schemas.microsoft.com/office/drawing/2014/main" id="{74452573-EB16-46D8-AE99-444ABBD75AF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27218784"/>
              </p:ext>
            </p:extLst>
          </p:nvPr>
        </p:nvGraphicFramePr>
        <p:xfrm>
          <a:off x="760228" y="914400"/>
          <a:ext cx="7623544" cy="5029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7" name="Image 6">
            <a:extLst>
              <a:ext uri="{FF2B5EF4-FFF2-40B4-BE49-F238E27FC236}">
                <a16:creationId xmlns:a16="http://schemas.microsoft.com/office/drawing/2014/main" id="{D6D6E31B-3467-4F50-AE12-DB62BDBBEA6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1890" y="0"/>
            <a:ext cx="1185531" cy="1185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750081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AE15D898-A553-4326-8A98-0BFD9DA58E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27" y="260648"/>
            <a:ext cx="8354505" cy="537258"/>
          </a:xfrm>
        </p:spPr>
        <p:txBody>
          <a:bodyPr>
            <a:normAutofit/>
          </a:bodyPr>
          <a:lstStyle/>
          <a:p>
            <a:r>
              <a:rPr lang="fr-FR" sz="1600" dirty="0"/>
              <a:t>Budget : </a:t>
            </a:r>
            <a:r>
              <a:rPr lang="fr-FR" sz="1600" dirty="0">
                <a:solidFill>
                  <a:srgbClr val="FF0000"/>
                </a:solidFill>
              </a:rPr>
              <a:t>75 530 €</a:t>
            </a:r>
            <a:endParaRPr lang="fr-FR" sz="1600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9D138788-D9D9-4452-8F2B-084057F3A1C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26</a:t>
            </a:fld>
            <a:endParaRPr lang="fr-FR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B0B84F00-DFFD-4298-9902-4C02CBDA2FC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23/10/2021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841718BE-0A71-45BA-A960-4B5F019212B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dirty="0"/>
              <a:t>Assemblée Générale Ordinaire - 16 11 2017</a:t>
            </a:r>
          </a:p>
        </p:txBody>
      </p:sp>
      <p:graphicFrame>
        <p:nvGraphicFramePr>
          <p:cNvPr id="10" name="Graphique 9">
            <a:extLst>
              <a:ext uri="{FF2B5EF4-FFF2-40B4-BE49-F238E27FC236}">
                <a16:creationId xmlns:a16="http://schemas.microsoft.com/office/drawing/2014/main" id="{74452573-EB16-46D8-AE99-444ABBD75AF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59986479"/>
              </p:ext>
            </p:extLst>
          </p:nvPr>
        </p:nvGraphicFramePr>
        <p:xfrm>
          <a:off x="760228" y="914400"/>
          <a:ext cx="7623544" cy="5029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7" name="Image 6">
            <a:extLst>
              <a:ext uri="{FF2B5EF4-FFF2-40B4-BE49-F238E27FC236}">
                <a16:creationId xmlns:a16="http://schemas.microsoft.com/office/drawing/2014/main" id="{6EF7AE5C-0879-4275-97AF-4E4CCF0A613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1890" y="0"/>
            <a:ext cx="1185531" cy="1185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303030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sz="2800" dirty="0"/>
              <a:t>QUESTIONS SUR LE BUDGET  </a:t>
            </a:r>
          </a:p>
          <a:p>
            <a:pPr>
              <a:buNone/>
            </a:pPr>
            <a:r>
              <a:rPr lang="fr-FR" sz="2800" dirty="0"/>
              <a:t>                2021 – 2022 ?</a:t>
            </a:r>
          </a:p>
          <a:p>
            <a:endParaRPr lang="fr-FR" sz="2800" dirty="0"/>
          </a:p>
          <a:p>
            <a:endParaRPr lang="fr-FR" sz="2800" dirty="0"/>
          </a:p>
          <a:p>
            <a:r>
              <a:rPr lang="fr-FR" sz="2800" dirty="0"/>
              <a:t>APPROBATION DU BUDGET 2021 - 2022?</a:t>
            </a:r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27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048A4FA-17E7-4243-BE81-3F75E5F7A467}" type="datetime1">
              <a:rPr lang="fr-FR" smtClean="0"/>
              <a:pPr/>
              <a:t>23/10/2021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  <a:endParaRPr lang="fr-FR" dirty="0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9D4447C7-792F-4BC5-A504-AF415401E96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5832" y="14007"/>
            <a:ext cx="1552353" cy="155235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432603" y="180795"/>
            <a:ext cx="6419379" cy="558059"/>
          </a:xfrm>
        </p:spPr>
        <p:txBody>
          <a:bodyPr/>
          <a:lstStyle/>
          <a:p>
            <a:pPr>
              <a:defRPr/>
            </a:pPr>
            <a:endParaRPr lang="fr-FR" dirty="0">
              <a:ea typeface="+mj-ea"/>
            </a:endParaRPr>
          </a:p>
        </p:txBody>
      </p:sp>
      <p:sp>
        <p:nvSpPr>
          <p:cNvPr id="12292" name="Espace réservé de la date 4"/>
          <p:cNvSpPr>
            <a:spLocks noGrp="1"/>
          </p:cNvSpPr>
          <p:nvPr>
            <p:ph type="dt" sz="half" idx="12"/>
          </p:nvPr>
        </p:nvSpPr>
        <p:spPr bwMode="auto">
          <a:xfrm>
            <a:off x="179388" y="6524625"/>
            <a:ext cx="847725" cy="222250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264A5824-8DEB-47E7-A6EE-135E0FEEF5F5}" type="datetime1">
              <a:rPr lang="fr-FR" sz="1000" smtClean="0">
                <a:solidFill>
                  <a:schemeClr val="bg1"/>
                </a:solidFill>
              </a:rPr>
              <a:pPr eaLnBrk="1" hangingPunct="1"/>
              <a:t>23/10/2021</a:t>
            </a:fld>
            <a:endParaRPr lang="fr-FR" sz="1000" dirty="0">
              <a:solidFill>
                <a:schemeClr val="bg1"/>
              </a:solidFill>
            </a:endParaRPr>
          </a:p>
        </p:txBody>
      </p:sp>
      <p:graphicFrame>
        <p:nvGraphicFramePr>
          <p:cNvPr id="2" name="Diagramme 1"/>
          <p:cNvGraphicFramePr/>
          <p:nvPr/>
        </p:nvGraphicFramePr>
        <p:xfrm>
          <a:off x="532015" y="1251914"/>
          <a:ext cx="8611985" cy="48814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Ellipse 4"/>
          <p:cNvSpPr/>
          <p:nvPr/>
        </p:nvSpPr>
        <p:spPr>
          <a:xfrm>
            <a:off x="624516" y="5160469"/>
            <a:ext cx="709907" cy="751411"/>
          </a:xfrm>
          <a:prstGeom prst="ellipse">
            <a:avLst/>
          </a:prstGeom>
          <a:solidFill>
            <a:schemeClr val="accent6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1CD1E396-4C7C-4BF5-A897-7113744B18D3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1890" y="0"/>
            <a:ext cx="1185531" cy="1185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2653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315539" y="57443"/>
            <a:ext cx="3470675" cy="495450"/>
          </a:xfrm>
        </p:spPr>
        <p:txBody>
          <a:bodyPr/>
          <a:lstStyle/>
          <a:p>
            <a:r>
              <a:rPr lang="fr-FR" dirty="0"/>
              <a:t>Un grand merci aux 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29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1FB85A7-9051-4777-BF6A-ACCA7C7B2C30}" type="datetime1">
              <a:rPr lang="fr-FR" smtClean="0"/>
              <a:pPr/>
              <a:t>23/10/2021</a:t>
            </a:fld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dirty="0"/>
              <a:t>Assemblée Générale Ordinaire - 16 11 2017</a:t>
            </a:r>
          </a:p>
        </p:txBody>
      </p:sp>
      <p:graphicFrame>
        <p:nvGraphicFramePr>
          <p:cNvPr id="7" name="Diagramme 6"/>
          <p:cNvGraphicFramePr/>
          <p:nvPr>
            <p:extLst>
              <p:ext uri="{D42A27DB-BD31-4B8C-83A1-F6EECF244321}">
                <p14:modId xmlns:p14="http://schemas.microsoft.com/office/powerpoint/2010/main" val="4172195871"/>
              </p:ext>
            </p:extLst>
          </p:nvPr>
        </p:nvGraphicFramePr>
        <p:xfrm>
          <a:off x="185738" y="753822"/>
          <a:ext cx="8432051" cy="56549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ZoneTexte 8"/>
          <p:cNvSpPr txBox="1"/>
          <p:nvPr/>
        </p:nvSpPr>
        <p:spPr>
          <a:xfrm>
            <a:off x="2569188" y="3123068"/>
            <a:ext cx="3348452" cy="132343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solidFill>
                  <a:schemeClr val="tx1"/>
                </a:solidFill>
              </a:rPr>
              <a:t>BONNE SAISON </a:t>
            </a:r>
          </a:p>
          <a:p>
            <a:pPr algn="ctr"/>
            <a:r>
              <a:rPr lang="fr-FR" sz="2800" dirty="0">
                <a:solidFill>
                  <a:schemeClr val="tx1"/>
                </a:solidFill>
              </a:rPr>
              <a:t>2021 - 2022</a:t>
            </a:r>
          </a:p>
          <a:p>
            <a:endParaRPr lang="fr-FR" dirty="0"/>
          </a:p>
        </p:txBody>
      </p:sp>
      <p:sp>
        <p:nvSpPr>
          <p:cNvPr id="8" name="Sourire 7"/>
          <p:cNvSpPr/>
          <p:nvPr/>
        </p:nvSpPr>
        <p:spPr>
          <a:xfrm>
            <a:off x="3786214" y="4010513"/>
            <a:ext cx="914400" cy="914400"/>
          </a:xfrm>
          <a:prstGeom prst="smileyFac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E57DE207-C1E9-4F9F-A298-8D01FDEC6003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1890" y="0"/>
            <a:ext cx="1185531" cy="1185531"/>
          </a:xfrm>
          <a:prstGeom prst="rect">
            <a:avLst/>
          </a:prstGeom>
        </p:spPr>
      </p:pic>
      <p:pic>
        <p:nvPicPr>
          <p:cNvPr id="11" name="Image 10" descr="Une image contenant texte&#10;&#10;Description générée automatiquement">
            <a:extLst>
              <a:ext uri="{FF2B5EF4-FFF2-40B4-BE49-F238E27FC236}">
                <a16:creationId xmlns:a16="http://schemas.microsoft.com/office/drawing/2014/main" id="{4D23DFAA-927C-4015-9CE2-7A827336BCBD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520" y="5560828"/>
            <a:ext cx="1297172" cy="1297172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432603" y="180795"/>
            <a:ext cx="6419379" cy="558059"/>
          </a:xfrm>
        </p:spPr>
        <p:txBody>
          <a:bodyPr/>
          <a:lstStyle/>
          <a:p>
            <a:pPr>
              <a:defRPr/>
            </a:pPr>
            <a:endParaRPr lang="fr-FR" dirty="0">
              <a:ea typeface="+mj-ea"/>
            </a:endParaRPr>
          </a:p>
        </p:txBody>
      </p:sp>
      <p:sp>
        <p:nvSpPr>
          <p:cNvPr id="12292" name="Espace réservé de la date 4"/>
          <p:cNvSpPr>
            <a:spLocks noGrp="1"/>
          </p:cNvSpPr>
          <p:nvPr>
            <p:ph type="dt" sz="half" idx="12"/>
          </p:nvPr>
        </p:nvSpPr>
        <p:spPr bwMode="auto">
          <a:xfrm>
            <a:off x="179388" y="6524625"/>
            <a:ext cx="847725" cy="222250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264A5824-8DEB-47E7-A6EE-135E0FEEF5F5}" type="datetime1">
              <a:rPr lang="fr-FR" sz="1000" smtClean="0">
                <a:solidFill>
                  <a:schemeClr val="bg1"/>
                </a:solidFill>
              </a:rPr>
              <a:pPr eaLnBrk="1" hangingPunct="1"/>
              <a:t>23/10/2021</a:t>
            </a:fld>
            <a:endParaRPr lang="fr-FR" sz="1000" dirty="0">
              <a:solidFill>
                <a:schemeClr val="bg1"/>
              </a:solidFill>
            </a:endParaRPr>
          </a:p>
        </p:txBody>
      </p:sp>
      <p:graphicFrame>
        <p:nvGraphicFramePr>
          <p:cNvPr id="2" name="Diagramme 1"/>
          <p:cNvGraphicFramePr/>
          <p:nvPr>
            <p:extLst>
              <p:ext uri="{D42A27DB-BD31-4B8C-83A1-F6EECF244321}">
                <p14:modId xmlns:p14="http://schemas.microsoft.com/office/powerpoint/2010/main" val="3170856045"/>
              </p:ext>
            </p:extLst>
          </p:nvPr>
        </p:nvGraphicFramePr>
        <p:xfrm>
          <a:off x="532015" y="1251914"/>
          <a:ext cx="8611985" cy="48814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Ellipse 4"/>
          <p:cNvSpPr/>
          <p:nvPr/>
        </p:nvSpPr>
        <p:spPr>
          <a:xfrm>
            <a:off x="628103" y="1481602"/>
            <a:ext cx="709907" cy="751411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0ACBD61B-FB18-4898-A67E-1988BE8D0AEE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6833" y="66827"/>
            <a:ext cx="1326038" cy="1326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1169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age 15" descr="Une image contenant texte&#10;&#10;Description générée automatiquement">
            <a:extLst>
              <a:ext uri="{FF2B5EF4-FFF2-40B4-BE49-F238E27FC236}">
                <a16:creationId xmlns:a16="http://schemas.microsoft.com/office/drawing/2014/main" id="{DC2D9B2E-44F9-4A42-BC64-0A45B811CEA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8512" y="3803984"/>
            <a:ext cx="2989271" cy="2989271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E1B089FF-B1E3-4F3B-B34D-3612B3F5858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776" y="1149376"/>
            <a:ext cx="2381250" cy="2381250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ERCI POUR VOTRE PARTICIPATION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30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42C1545-0C57-49E7-9CF3-9F1A1B40B520}" type="datetime1">
              <a:rPr lang="fr-FR" smtClean="0"/>
              <a:pPr/>
              <a:t>23/10/2021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FEFA3DDD-5DEF-49DC-919A-BDD8E0638A8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6330" y="999832"/>
            <a:ext cx="2617527" cy="2617527"/>
          </a:xfrm>
          <a:prstGeom prst="rect">
            <a:avLst/>
          </a:prstGeom>
        </p:spPr>
      </p:pic>
      <p:sp>
        <p:nvSpPr>
          <p:cNvPr id="9" name="ZoneTexte 8"/>
          <p:cNvSpPr txBox="1"/>
          <p:nvPr/>
        </p:nvSpPr>
        <p:spPr>
          <a:xfrm>
            <a:off x="3021940" y="1508997"/>
            <a:ext cx="214314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600" dirty="0">
                <a:solidFill>
                  <a:schemeClr val="tx2"/>
                </a:solidFill>
              </a:rPr>
              <a:t>+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16B643BB-DDFE-423E-B9EB-5ECF262D4F1A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392" y="3555491"/>
            <a:ext cx="3175098" cy="3175098"/>
          </a:xfrm>
          <a:prstGeom prst="rect">
            <a:avLst/>
          </a:prstGeom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7A2E4E98-598F-4D84-B75E-203E5712B64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176" y="1301776"/>
            <a:ext cx="2381250" cy="2381250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D9DFB0BF-9CCD-4050-831C-033BCA5ABAA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8725" y="0"/>
            <a:ext cx="1185531" cy="1185531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D0A221AF-3841-45BA-982D-907825F902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aison 2020 - 2021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B304D89D-403F-4FCD-8267-C478449ABD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4</a:t>
            </a:fld>
            <a:endParaRPr lang="fr-FR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C1C6032F-9C5C-4C23-87E0-6227253A253C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23/10/2021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AD80598E-B635-48C0-B719-F4629476514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graphicFrame>
        <p:nvGraphicFramePr>
          <p:cNvPr id="8" name="Diagramme 7">
            <a:extLst>
              <a:ext uri="{FF2B5EF4-FFF2-40B4-BE49-F238E27FC236}">
                <a16:creationId xmlns:a16="http://schemas.microsoft.com/office/drawing/2014/main" id="{80F09835-8C02-47E1-87BD-9B3F7D171A8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14638001"/>
              </p:ext>
            </p:extLst>
          </p:nvPr>
        </p:nvGraphicFramePr>
        <p:xfrm>
          <a:off x="609600" y="1056884"/>
          <a:ext cx="7648807" cy="54677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9075057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5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23/10/2021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graphicFrame>
        <p:nvGraphicFramePr>
          <p:cNvPr id="10" name="Graphique 9"/>
          <p:cNvGraphicFramePr/>
          <p:nvPr>
            <p:extLst>
              <p:ext uri="{D42A27DB-BD31-4B8C-83A1-F6EECF244321}">
                <p14:modId xmlns:p14="http://schemas.microsoft.com/office/powerpoint/2010/main" val="2534233771"/>
              </p:ext>
            </p:extLst>
          </p:nvPr>
        </p:nvGraphicFramePr>
        <p:xfrm>
          <a:off x="368968" y="111125"/>
          <a:ext cx="8406063" cy="57751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nalyse plus fine des adhérents du BADMINTON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6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23/10/2021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graphicFrame>
        <p:nvGraphicFramePr>
          <p:cNvPr id="7" name="Tableau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8949965"/>
              </p:ext>
            </p:extLst>
          </p:nvPr>
        </p:nvGraphicFramePr>
        <p:xfrm>
          <a:off x="185739" y="655360"/>
          <a:ext cx="8118291" cy="6072426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48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268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52684">
                  <a:extLst>
                    <a:ext uri="{9D8B030D-6E8A-4147-A177-3AD203B41FA5}">
                      <a16:colId xmlns:a16="http://schemas.microsoft.com/office/drawing/2014/main" val="1878526387"/>
                    </a:ext>
                  </a:extLst>
                </a:gridCol>
                <a:gridCol w="1352684">
                  <a:extLst>
                    <a:ext uri="{9D8B030D-6E8A-4147-A177-3AD203B41FA5}">
                      <a16:colId xmlns:a16="http://schemas.microsoft.com/office/drawing/2014/main" val="3502629078"/>
                    </a:ext>
                  </a:extLst>
                </a:gridCol>
                <a:gridCol w="1352684">
                  <a:extLst>
                    <a:ext uri="{9D8B030D-6E8A-4147-A177-3AD203B41FA5}">
                      <a16:colId xmlns:a16="http://schemas.microsoft.com/office/drawing/2014/main" val="3927373945"/>
                    </a:ext>
                  </a:extLst>
                </a:gridCol>
                <a:gridCol w="1352684">
                  <a:extLst>
                    <a:ext uri="{9D8B030D-6E8A-4147-A177-3AD203B41FA5}">
                      <a16:colId xmlns:a16="http://schemas.microsoft.com/office/drawing/2014/main" val="2311508080"/>
                    </a:ext>
                  </a:extLst>
                </a:gridCol>
              </a:tblGrid>
              <a:tr h="613053"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/>
                        <a:t>2017-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800" dirty="0"/>
                        <a:t>2018-2019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19-20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0-2021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-2022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Au 15/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13053">
                <a:tc>
                  <a:txBody>
                    <a:bodyPr/>
                    <a:lstStyle/>
                    <a:p>
                      <a:r>
                        <a:rPr lang="fr-FR" dirty="0"/>
                        <a:t>Joueurs licencié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0" dirty="0"/>
                        <a:t>20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0" dirty="0"/>
                        <a:t>22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0" dirty="0"/>
                        <a:t>21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0" dirty="0"/>
                        <a:t>15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0" dirty="0"/>
                        <a:t>17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13053">
                <a:tc>
                  <a:txBody>
                    <a:bodyPr/>
                    <a:lstStyle/>
                    <a:p>
                      <a:r>
                        <a:rPr lang="fr-FR" dirty="0"/>
                        <a:t>âge moy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3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31,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31,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32,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30,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7504">
                <a:tc>
                  <a:txBody>
                    <a:bodyPr/>
                    <a:lstStyle/>
                    <a:p>
                      <a:r>
                        <a:rPr lang="fr-FR" dirty="0"/>
                        <a:t>homm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3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3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4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0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2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57504">
                <a:tc>
                  <a:txBody>
                    <a:bodyPr/>
                    <a:lstStyle/>
                    <a:p>
                      <a:r>
                        <a:rPr lang="fr-FR" dirty="0"/>
                        <a:t>femm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7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8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7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4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49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13053">
                <a:tc>
                  <a:txBody>
                    <a:bodyPr/>
                    <a:lstStyle/>
                    <a:p>
                      <a:r>
                        <a:rPr lang="fr-FR" dirty="0"/>
                        <a:t>compétiteu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7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7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9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7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7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0248">
                <a:tc>
                  <a:txBody>
                    <a:bodyPr/>
                    <a:lstStyle/>
                    <a:p>
                      <a:r>
                        <a:rPr lang="fr-FR"/>
                        <a:t>loisi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2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4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2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7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0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13053">
                <a:tc>
                  <a:txBody>
                    <a:bodyPr/>
                    <a:lstStyle/>
                    <a:p>
                      <a:r>
                        <a:rPr lang="fr-FR" dirty="0"/>
                        <a:t>Classemen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fr-FR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fr-FR" dirty="0"/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fr-FR" dirty="0"/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fr-FR" dirty="0"/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fr-FR" dirty="0"/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57504">
                <a:tc>
                  <a:txBody>
                    <a:bodyPr/>
                    <a:lstStyle/>
                    <a:p>
                      <a:r>
                        <a:rPr lang="fr-FR" dirty="0"/>
                        <a:t>Nationa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0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57504">
                <a:tc>
                  <a:txBody>
                    <a:bodyPr/>
                    <a:lstStyle/>
                    <a:p>
                      <a:r>
                        <a:rPr lang="fr-FR"/>
                        <a:t>Régiona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57504">
                <a:tc>
                  <a:txBody>
                    <a:bodyPr/>
                    <a:lstStyle/>
                    <a:p>
                      <a:r>
                        <a:rPr lang="fr-FR"/>
                        <a:t>Départ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2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2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2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4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3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57504">
                <a:tc>
                  <a:txBody>
                    <a:bodyPr/>
                    <a:lstStyle/>
                    <a:p>
                      <a:r>
                        <a:rPr lang="fr-FR"/>
                        <a:t>Promo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6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7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7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3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4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57504">
                <a:tc>
                  <a:txBody>
                    <a:bodyPr/>
                    <a:lstStyle/>
                    <a:p>
                      <a:r>
                        <a:rPr lang="fr-FR"/>
                        <a:t>N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1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2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0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7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9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pic>
        <p:nvPicPr>
          <p:cNvPr id="8" name="Image 7">
            <a:extLst>
              <a:ext uri="{FF2B5EF4-FFF2-40B4-BE49-F238E27FC236}">
                <a16:creationId xmlns:a16="http://schemas.microsoft.com/office/drawing/2014/main" id="{2ED35291-C9F5-4D40-8AC3-A7B894508D7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3900" y="20207"/>
            <a:ext cx="967454" cy="967454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44C7E064-A6C3-4AC3-B6DE-3DCF51FA19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826" y="208286"/>
            <a:ext cx="6259890" cy="785794"/>
          </a:xfrm>
        </p:spPr>
        <p:txBody>
          <a:bodyPr/>
          <a:lstStyle/>
          <a:p>
            <a:r>
              <a:rPr lang="fr-FR" dirty="0"/>
              <a:t>Le projet « En route pour 2024 »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8CCF1B3E-0D59-4A35-BA00-DFCFBA38A8B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7</a:t>
            </a:fld>
            <a:endParaRPr lang="fr-FR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D9F492CB-F695-4BB2-92E3-D509FC603499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23/10/2021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3DC53EFD-827C-4652-BF37-64F987D7AFB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dirty="0"/>
              <a:t>Assemblée Générale Ordinaire - 16 11 2017</a:t>
            </a:r>
          </a:p>
        </p:txBody>
      </p:sp>
      <p:graphicFrame>
        <p:nvGraphicFramePr>
          <p:cNvPr id="7" name="Espace réservé du contenu 5">
            <a:extLst>
              <a:ext uri="{FF2B5EF4-FFF2-40B4-BE49-F238E27FC236}">
                <a16:creationId xmlns:a16="http://schemas.microsoft.com/office/drawing/2014/main" id="{2BA0BAAC-411C-413F-97F3-CD124D3B11E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49993031"/>
              </p:ext>
            </p:extLst>
          </p:nvPr>
        </p:nvGraphicFramePr>
        <p:xfrm>
          <a:off x="0" y="1277716"/>
          <a:ext cx="8767320" cy="43025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8" name="Image 7">
            <a:extLst>
              <a:ext uri="{FF2B5EF4-FFF2-40B4-BE49-F238E27FC236}">
                <a16:creationId xmlns:a16="http://schemas.microsoft.com/office/drawing/2014/main" id="{B680DE89-93FC-4BEA-80B4-80A059E813F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2000" y="3685536"/>
            <a:ext cx="946301" cy="332484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9B145ED3-6AC0-455A-B243-70D1194F7D0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76307" y="4285068"/>
            <a:ext cx="1041994" cy="338808"/>
          </a:xfrm>
          <a:prstGeom prst="rect">
            <a:avLst/>
          </a:prstGeom>
        </p:spPr>
      </p:pic>
      <p:pic>
        <p:nvPicPr>
          <p:cNvPr id="11" name="Image 10" descr="Une image contenant texte&#10;&#10;Description générée automatiquement">
            <a:extLst>
              <a:ext uri="{FF2B5EF4-FFF2-40B4-BE49-F238E27FC236}">
                <a16:creationId xmlns:a16="http://schemas.microsoft.com/office/drawing/2014/main" id="{6F0DC51D-42DF-4B3B-98D3-1DF39B16A058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" y="5078634"/>
            <a:ext cx="1876203" cy="1876203"/>
          </a:xfrm>
          <a:prstGeom prst="rect">
            <a:avLst/>
          </a:prstGeom>
        </p:spPr>
      </p:pic>
      <p:pic>
        <p:nvPicPr>
          <p:cNvPr id="12" name="Image 11" descr="Une image contenant texte&#10;&#10;Description générée automatiquement">
            <a:extLst>
              <a:ext uri="{FF2B5EF4-FFF2-40B4-BE49-F238E27FC236}">
                <a16:creationId xmlns:a16="http://schemas.microsoft.com/office/drawing/2014/main" id="{E2F3F76A-352F-4F3B-B064-A499BA96F275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0265" y="-1"/>
            <a:ext cx="1876203" cy="1876203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FAB055CE-B436-40A1-8D47-68550B145C10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9913" y="4443506"/>
            <a:ext cx="967454" cy="967454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F3D33D6C-EF97-490B-8C90-832C5473480E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4001" y="1454694"/>
            <a:ext cx="967455" cy="967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06447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Une image contenant texte&#10;&#10;Description générée automatiquement">
            <a:extLst>
              <a:ext uri="{FF2B5EF4-FFF2-40B4-BE49-F238E27FC236}">
                <a16:creationId xmlns:a16="http://schemas.microsoft.com/office/drawing/2014/main" id="{6BC7FE5F-BBA0-4775-8D56-D0E3F1B10D3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4567" y="-1"/>
            <a:ext cx="1751901" cy="1751901"/>
          </a:xfrm>
          <a:prstGeom prst="rect">
            <a:avLst/>
          </a:prstGeom>
        </p:spPr>
      </p:pic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648307C-8F50-4961-9C15-E77F11CC0B8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8</a:t>
            </a:fld>
            <a:endParaRPr lang="fr-FR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4110FBFD-D427-4C8D-8490-4F97C3F744F4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23/10/2021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36F1FE1A-3536-4500-9970-938CB5BB195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sp>
        <p:nvSpPr>
          <p:cNvPr id="7" name="Titre 2">
            <a:extLst>
              <a:ext uri="{FF2B5EF4-FFF2-40B4-BE49-F238E27FC236}">
                <a16:creationId xmlns:a16="http://schemas.microsoft.com/office/drawing/2014/main" id="{99AE0CE1-5662-4C10-B57E-156E12AB4C57}"/>
              </a:ext>
            </a:extLst>
          </p:cNvPr>
          <p:cNvSpPr txBox="1">
            <a:spLocks/>
          </p:cNvSpPr>
          <p:nvPr/>
        </p:nvSpPr>
        <p:spPr>
          <a:xfrm>
            <a:off x="609600" y="108116"/>
            <a:ext cx="6259890" cy="785794"/>
          </a:xfrm>
          <a:prstGeom prst="rect">
            <a:avLst/>
          </a:prstGeom>
        </p:spPr>
        <p:txBody>
          <a:bodyPr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 kern="1200" cap="all" baseline="0">
                <a:solidFill>
                  <a:srgbClr val="463436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fr-FR" dirty="0"/>
              <a:t>Le projet « En route pour 2024 »</a:t>
            </a:r>
          </a:p>
          <a:p>
            <a:r>
              <a:rPr lang="fr-FR" dirty="0">
                <a:solidFill>
                  <a:srgbClr val="FF0000"/>
                </a:solidFill>
              </a:rPr>
              <a:t>Quelques exemples d’actions</a:t>
            </a:r>
          </a:p>
        </p:txBody>
      </p:sp>
      <p:graphicFrame>
        <p:nvGraphicFramePr>
          <p:cNvPr id="9" name="Diagramme 8">
            <a:extLst>
              <a:ext uri="{FF2B5EF4-FFF2-40B4-BE49-F238E27FC236}">
                <a16:creationId xmlns:a16="http://schemas.microsoft.com/office/drawing/2014/main" id="{0AAF856B-9D91-4179-BADE-9A4A882BA9B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88530830"/>
              </p:ext>
            </p:extLst>
          </p:nvPr>
        </p:nvGraphicFramePr>
        <p:xfrm>
          <a:off x="374826" y="1212112"/>
          <a:ext cx="7854774" cy="49228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9137914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Une image contenant texte&#10;&#10;Description générée automatiquement">
            <a:extLst>
              <a:ext uri="{FF2B5EF4-FFF2-40B4-BE49-F238E27FC236}">
                <a16:creationId xmlns:a16="http://schemas.microsoft.com/office/drawing/2014/main" id="{DF821129-14F5-419C-BB3C-A9D979B4541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7219" y="-1"/>
            <a:ext cx="1539249" cy="1539249"/>
          </a:xfrm>
          <a:prstGeom prst="rect">
            <a:avLst/>
          </a:prstGeom>
        </p:spPr>
      </p:pic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648307C-8F50-4961-9C15-E77F11CC0B8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9</a:t>
            </a:fld>
            <a:endParaRPr lang="fr-FR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4110FBFD-D427-4C8D-8490-4F97C3F744F4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23/10/2021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36F1FE1A-3536-4500-9970-938CB5BB195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033463" y="6495256"/>
            <a:ext cx="5400675" cy="217488"/>
          </a:xfrm>
        </p:spPr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sp>
        <p:nvSpPr>
          <p:cNvPr id="7" name="Titre 2">
            <a:extLst>
              <a:ext uri="{FF2B5EF4-FFF2-40B4-BE49-F238E27FC236}">
                <a16:creationId xmlns:a16="http://schemas.microsoft.com/office/drawing/2014/main" id="{99AE0CE1-5662-4C10-B57E-156E12AB4C57}"/>
              </a:ext>
            </a:extLst>
          </p:cNvPr>
          <p:cNvSpPr txBox="1">
            <a:spLocks/>
          </p:cNvSpPr>
          <p:nvPr/>
        </p:nvSpPr>
        <p:spPr>
          <a:xfrm>
            <a:off x="920375" y="124499"/>
            <a:ext cx="6259890" cy="785794"/>
          </a:xfrm>
          <a:prstGeom prst="rect">
            <a:avLst/>
          </a:prstGeom>
        </p:spPr>
        <p:txBody>
          <a:bodyPr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 kern="1200" cap="all" baseline="0">
                <a:solidFill>
                  <a:srgbClr val="463436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fr-FR" dirty="0"/>
              <a:t>Le projet « En route pour 2024 »</a:t>
            </a:r>
          </a:p>
          <a:p>
            <a:r>
              <a:rPr lang="fr-FR" dirty="0">
                <a:solidFill>
                  <a:srgbClr val="FF0000"/>
                </a:solidFill>
              </a:rPr>
              <a:t>Quelques exemples d’actions</a:t>
            </a:r>
          </a:p>
        </p:txBody>
      </p:sp>
      <p:graphicFrame>
        <p:nvGraphicFramePr>
          <p:cNvPr id="9" name="Diagramme 8">
            <a:extLst>
              <a:ext uri="{FF2B5EF4-FFF2-40B4-BE49-F238E27FC236}">
                <a16:creationId xmlns:a16="http://schemas.microsoft.com/office/drawing/2014/main" id="{0AAF856B-9D91-4179-BADE-9A4A882BA9B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73657738"/>
              </p:ext>
            </p:extLst>
          </p:nvPr>
        </p:nvGraphicFramePr>
        <p:xfrm>
          <a:off x="374826" y="1105787"/>
          <a:ext cx="8010117" cy="51425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0031443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0YUFkyrnkmabmPEvVCo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ZufsihhkypKvYeR6vZl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64qxR.hlUmMrttMgIm3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wE8b7NzEaP_71XKqK_W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_GL6tTUYUKK7KuID6EwP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Louqht3EmE7jitNuFpJ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Sestjr_EaC.i9ywwGdS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u7Dj.XxZU6npJypcbORM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MrO8dNv0yw3ro5g2_5BA"/>
</p:tagLst>
</file>

<file path=ppt/theme/theme1.xml><?xml version="1.0" encoding="utf-8"?>
<a:theme xmlns:a="http://schemas.openxmlformats.org/drawingml/2006/main" name="Modèle Présentation Klési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7_Thème Office">
  <a:themeElements>
    <a:clrScheme name="7_Thème Office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7_Thème Office">
      <a:majorFont>
        <a:latin typeface="Arial"/>
        <a:ea typeface="ＭＳ Ｐゴシック"/>
        <a:cs typeface="Arial"/>
      </a:majorFont>
      <a:minorFont>
        <a:latin typeface="Arial"/>
        <a:ea typeface="ＭＳ Ｐゴシック"/>
        <a:cs typeface="Arial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7_Thèm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D82F832B840AE43B7BB6E8DE33DAEE3" ma:contentTypeVersion="11" ma:contentTypeDescription="Crée un document." ma:contentTypeScope="" ma:versionID="fcd3cdaa57daad9d5b71ecf435cc5f0e">
  <xsd:schema xmlns:xsd="http://www.w3.org/2001/XMLSchema" xmlns:xs="http://www.w3.org/2001/XMLSchema" xmlns:p="http://schemas.microsoft.com/office/2006/metadata/properties" xmlns:ns3="ab4ae582-4b1f-402f-b3e7-e10af49524d1" xmlns:ns4="e673adbb-9038-43db-989b-c53fc631368e" targetNamespace="http://schemas.microsoft.com/office/2006/metadata/properties" ma:root="true" ma:fieldsID="b57daeb3784fad586178d60ee7139f5c" ns3:_="" ns4:_="">
    <xsd:import namespace="ab4ae582-4b1f-402f-b3e7-e10af49524d1"/>
    <xsd:import namespace="e673adbb-9038-43db-989b-c53fc631368e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4ae582-4b1f-402f-b3e7-e10af49524d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Partagé avec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Partagé avec dé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Partage du hachage d’indicateur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73adbb-9038-43db-989b-c53fc631368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9C37155-2BFD-457C-A1AE-FB3FAA9BF9A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b4ae582-4b1f-402f-b3e7-e10af49524d1"/>
    <ds:schemaRef ds:uri="e673adbb-9038-43db-989b-c53fc631368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08DF1FC-11B4-4223-AEDD-81910AD4648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B683E54-C0B5-484D-90C1-82FC6811A7A4}">
  <ds:schemaRefs>
    <ds:schemaRef ds:uri="http://schemas.microsoft.com/office/2006/documentManagement/types"/>
    <ds:schemaRef ds:uri="http://purl.org/dc/elements/1.1/"/>
    <ds:schemaRef ds:uri="http://purl.org/dc/terms/"/>
    <ds:schemaRef ds:uri="http://schemas.openxmlformats.org/package/2006/metadata/core-properties"/>
    <ds:schemaRef ds:uri="http://www.w3.org/XML/1998/namespace"/>
    <ds:schemaRef ds:uri="http://schemas.microsoft.com/office/infopath/2007/PartnerControls"/>
    <ds:schemaRef ds:uri="ab4ae582-4b1f-402f-b3e7-e10af49524d1"/>
    <ds:schemaRef ds:uri="e673adbb-9038-43db-989b-c53fc631368e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odèle Présentation Klésia.potx</Template>
  <TotalTime>29333</TotalTime>
  <Words>1607</Words>
  <Application>Microsoft Office PowerPoint</Application>
  <PresentationFormat>Affichage à l'écran (4:3)</PresentationFormat>
  <Paragraphs>437</Paragraphs>
  <Slides>30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0</vt:i4>
      </vt:variant>
    </vt:vector>
  </HeadingPairs>
  <TitlesOfParts>
    <vt:vector size="38" baseType="lpstr">
      <vt:lpstr>Arial</vt:lpstr>
      <vt:lpstr>Calibri</vt:lpstr>
      <vt:lpstr>Courier New</vt:lpstr>
      <vt:lpstr>Lucida Grande</vt:lpstr>
      <vt:lpstr>Wingdings</vt:lpstr>
      <vt:lpstr>Modèle Présentation Klésia</vt:lpstr>
      <vt:lpstr>7_Thème Office</vt:lpstr>
      <vt:lpstr>think-cell Slide</vt:lpstr>
      <vt:lpstr>Assemblée  Générale Ordinaire </vt:lpstr>
      <vt:lpstr>Présentation PowerPoint</vt:lpstr>
      <vt:lpstr>Présentation PowerPoint</vt:lpstr>
      <vt:lpstr>Saison 2020 - 2021</vt:lpstr>
      <vt:lpstr>Présentation PowerPoint</vt:lpstr>
      <vt:lpstr>Analyse plus fine des adhérents du BADMINTON</vt:lpstr>
      <vt:lpstr>Le projet « En route pour 2024 »</vt:lpstr>
      <vt:lpstr>Présentation PowerPoint</vt:lpstr>
      <vt:lpstr>Présentation PowerPoint</vt:lpstr>
      <vt:lpstr>La GYMNASTIQUE Masculine pour 2021-2022</vt:lpstr>
      <vt:lpstr>LE BADMINTON pour 2021-2022</vt:lpstr>
      <vt:lpstr>Les rendez-vous Badminton à HERBLAY</vt:lpstr>
      <vt:lpstr>Encouragements   A   Max VARIN   et   Alain FOUYE</vt:lpstr>
      <vt:lpstr>SYNTHESE 2020 - 2021</vt:lpstr>
      <vt:lpstr>Présentation PowerPoint</vt:lpstr>
      <vt:lpstr>Budget : 70 350 €  REALISEES : 67 623 €   RESULTAT : + 258 €</vt:lpstr>
      <vt:lpstr>Budget : 70 350 €  REALISEES : 67 623 € RESULTAT : + 258 €</vt:lpstr>
      <vt:lpstr>Budget : 70 350 €  REALISEES : 67 881 € RESULTAT : + 258 €</vt:lpstr>
      <vt:lpstr>Budget : 70 350 €  REALISEES : 67 881 € RESULTAT : + 258 €</vt:lpstr>
      <vt:lpstr>Rapport financier 2020 - 2021</vt:lpstr>
      <vt:lpstr>Présentation PowerPoint</vt:lpstr>
      <vt:lpstr>Les missions du Conseil d’Administration  12 membres maxi</vt:lpstr>
      <vt:lpstr>Situation des MANDATS et CANDIDATURES</vt:lpstr>
      <vt:lpstr>Présentation PowerPoint</vt:lpstr>
      <vt:lpstr>Budget : 75 530 €</vt:lpstr>
      <vt:lpstr>Budget : 75 530 €</vt:lpstr>
      <vt:lpstr>Présentation PowerPoint</vt:lpstr>
      <vt:lpstr>Présentation PowerPoint</vt:lpstr>
      <vt:lpstr>Un grand merci aux </vt:lpstr>
      <vt:lpstr>MERCI POUR VOTRE PARTICIP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anbriand</dc:creator>
  <cp:lastModifiedBy>Philippe Cerisier</cp:lastModifiedBy>
  <cp:revision>555</cp:revision>
  <cp:lastPrinted>2018-11-30T17:05:14Z</cp:lastPrinted>
  <dcterms:created xsi:type="dcterms:W3CDTF">2012-06-28T08:43:56Z</dcterms:created>
  <dcterms:modified xsi:type="dcterms:W3CDTF">2021-10-23T07:32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D82F832B840AE43B7BB6E8DE33DAEE3</vt:lpwstr>
  </property>
</Properties>
</file>